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theme/themeOverride1.xml" ContentType="application/vnd.openxmlformats-officedocument.themeOverride+xml"/>
  <Override PartName="/ppt/charts/chart2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2.xml" ContentType="application/vnd.openxmlformats-officedocument.themeOverride+xml"/>
  <Override PartName="/ppt/charts/chart24.xml" ContentType="application/vnd.openxmlformats-officedocument.drawingml.chart+xml"/>
  <Override PartName="/ppt/theme/themeOverride3.xml" ContentType="application/vnd.openxmlformats-officedocument.themeOverride+xml"/>
  <Override PartName="/ppt/charts/chart25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4.xml" ContentType="application/vnd.openxmlformats-officedocument.themeOverride+xml"/>
  <Override PartName="/ppt/charts/chart26.xml" ContentType="application/vnd.openxmlformats-officedocument.drawingml.chart+xml"/>
  <Override PartName="/ppt/theme/themeOverride5.xml" ContentType="application/vnd.openxmlformats-officedocument.themeOverride+xml"/>
  <Override PartName="/ppt/charts/chart27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6.xml" ContentType="application/vnd.openxmlformats-officedocument.themeOverride+xml"/>
  <Override PartName="/ppt/charts/chart28.xml" ContentType="application/vnd.openxmlformats-officedocument.drawingml.chart+xml"/>
  <Override PartName="/ppt/theme/themeOverride7.xml" ContentType="application/vnd.openxmlformats-officedocument.themeOverride+xml"/>
  <Override PartName="/ppt/charts/chart29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8.xml" ContentType="application/vnd.openxmlformats-officedocument.themeOverride+xml"/>
  <Override PartName="/ppt/charts/chart30.xml" ContentType="application/vnd.openxmlformats-officedocument.drawingml.chart+xml"/>
  <Override PartName="/ppt/theme/themeOverride9.xml" ContentType="application/vnd.openxmlformats-officedocument.themeOverride+xml"/>
  <Override PartName="/ppt/charts/chart31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10.xml" ContentType="application/vnd.openxmlformats-officedocument.themeOverride+xml"/>
  <Override PartName="/ppt/charts/chart32.xml" ContentType="application/vnd.openxmlformats-officedocument.drawingml.chart+xml"/>
  <Override PartName="/ppt/theme/themeOverride11.xml" ContentType="application/vnd.openxmlformats-officedocument.themeOverride+xml"/>
  <Override PartName="/ppt/charts/chart33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12.xml" ContentType="application/vnd.openxmlformats-officedocument.themeOverr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dia/image2.svg" ContentType="image/svg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1"/>
    <p:sldMasterId id="2147483826" r:id="rId2"/>
    <p:sldMasterId id="2147483835" r:id="rId3"/>
    <p:sldMasterId id="2147483844" r:id="rId4"/>
  </p:sldMasterIdLst>
  <p:notesMasterIdLst>
    <p:notesMasterId r:id="rId47"/>
  </p:notesMasterIdLst>
  <p:handoutMasterIdLst>
    <p:handoutMasterId r:id="rId48"/>
  </p:handoutMasterIdLst>
  <p:sldIdLst>
    <p:sldId id="470" r:id="rId5"/>
    <p:sldId id="352" r:id="rId6"/>
    <p:sldId id="277" r:id="rId7"/>
    <p:sldId id="284" r:id="rId8"/>
    <p:sldId id="445" r:id="rId9"/>
    <p:sldId id="473" r:id="rId10"/>
    <p:sldId id="474" r:id="rId11"/>
    <p:sldId id="475" r:id="rId12"/>
    <p:sldId id="458" r:id="rId13"/>
    <p:sldId id="461" r:id="rId14"/>
    <p:sldId id="464" r:id="rId15"/>
    <p:sldId id="472" r:id="rId16"/>
    <p:sldId id="463" r:id="rId17"/>
    <p:sldId id="465" r:id="rId18"/>
    <p:sldId id="471" r:id="rId19"/>
    <p:sldId id="448" r:id="rId20"/>
    <p:sldId id="446" r:id="rId21"/>
    <p:sldId id="447" r:id="rId22"/>
    <p:sldId id="357" r:id="rId23"/>
    <p:sldId id="364" r:id="rId24"/>
    <p:sldId id="387" r:id="rId25"/>
    <p:sldId id="449" r:id="rId26"/>
    <p:sldId id="450" r:id="rId27"/>
    <p:sldId id="425" r:id="rId28"/>
    <p:sldId id="451" r:id="rId29"/>
    <p:sldId id="452" r:id="rId30"/>
    <p:sldId id="453" r:id="rId31"/>
    <p:sldId id="426" r:id="rId32"/>
    <p:sldId id="454" r:id="rId33"/>
    <p:sldId id="401" r:id="rId34"/>
    <p:sldId id="432" r:id="rId35"/>
    <p:sldId id="455" r:id="rId36"/>
    <p:sldId id="431" r:id="rId37"/>
    <p:sldId id="456" r:id="rId38"/>
    <p:sldId id="388" r:id="rId39"/>
    <p:sldId id="368" r:id="rId40"/>
    <p:sldId id="457" r:id="rId41"/>
    <p:sldId id="467" r:id="rId42"/>
    <p:sldId id="468" r:id="rId43"/>
    <p:sldId id="469" r:id="rId44"/>
    <p:sldId id="377" r:id="rId45"/>
    <p:sldId id="378" r:id="rId46"/>
  </p:sldIdLst>
  <p:sldSz cx="6858000" cy="5143500"/>
  <p:notesSz cx="6858000" cy="9144000"/>
  <p:custDataLst>
    <p:tags r:id="rId49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lin Söderkvist" initials="MS" lastIdx="9" clrIdx="0">
    <p:extLst>
      <p:ext uri="{19B8F6BF-5375-455C-9EA6-DF929625EA0E}">
        <p15:presenceInfo xmlns:p15="http://schemas.microsoft.com/office/powerpoint/2012/main" userId="S-1-5-21-1948194976-2510558922-1916008050-10773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954A6"/>
    <a:srgbClr val="2191C4"/>
    <a:srgbClr val="FF0066"/>
    <a:srgbClr val="AFC92B"/>
    <a:srgbClr val="5E87C0"/>
    <a:srgbClr val="D02F80"/>
    <a:srgbClr val="65656C"/>
    <a:srgbClr val="D95999"/>
    <a:srgbClr val="848489"/>
    <a:srgbClr val="6292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3164" autoAdjust="0"/>
    <p:restoredTop sz="94980" autoAdjust="0"/>
  </p:normalViewPr>
  <p:slideViewPr>
    <p:cSldViewPr snapToGrid="0">
      <p:cViewPr varScale="1">
        <p:scale>
          <a:sx n="134" d="100"/>
          <a:sy n="134" d="100"/>
        </p:scale>
        <p:origin x="132" y="120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0" d="100"/>
          <a:sy n="60" d="100"/>
        </p:scale>
        <p:origin x="3187" y="3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notesMaster" Target="notesMasters/notesMaster1.xml"/><Relationship Id="rId50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handoutMaster" Target="handoutMasters/handoutMaster1.xml"/><Relationship Id="rId8" Type="http://schemas.openxmlformats.org/officeDocument/2006/relationships/slide" Target="slides/slide4.xml"/><Relationship Id="rId51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1.xlsx"/><Relationship Id="rId1" Type="http://schemas.openxmlformats.org/officeDocument/2006/relationships/themeOverride" Target="../theme/themeOverride1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3.xlsx"/><Relationship Id="rId1" Type="http://schemas.openxmlformats.org/officeDocument/2006/relationships/themeOverride" Target="../theme/themeOverride3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5.xlsx"/><Relationship Id="rId1" Type="http://schemas.openxmlformats.org/officeDocument/2006/relationships/themeOverride" Target="../theme/themeOverride5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7.xlsx"/><Relationship Id="rId1" Type="http://schemas.openxmlformats.org/officeDocument/2006/relationships/themeOverride" Target="../theme/themeOverride7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9.xlsx"/><Relationship Id="rId1" Type="http://schemas.openxmlformats.org/officeDocument/2006/relationships/themeOverride" Target="../theme/themeOverride9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0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Worksheet30.xlsx"/></Relationships>
</file>

<file path=ppt/charts/_rels/chart3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1.xlsx"/><Relationship Id="rId1" Type="http://schemas.openxmlformats.org/officeDocument/2006/relationships/themeOverride" Target="../theme/themeOverride11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2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Microsoft_Excel_Worksheet3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F6F6F6"/>
            </a:solidFill>
          </c:spPr>
          <c:invertIfNegative val="1"/>
          <c:cat>
            <c:multiLvlStrRef>
              <c:f>Sheet1!$B$1</c:f>
            </c:multiLvlStrRef>
          </c:cat>
          <c:val>
            <c:numRef>
              <c:f>Sheet1!$B$2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1-F9F5-416F-944F-20F524D672A6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rgbClr val="FE9D93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FFFFFF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F9F5-416F-944F-20F524D672A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C$3</c:f>
              <c:numCache>
                <c:formatCode>General</c:formatCode>
                <c:ptCount val="1"/>
                <c:pt idx="0">
                  <c:v>5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3-F9F5-416F-944F-20F524D672A6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FECEC8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F9F5-416F-944F-20F524D672A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D$4</c:f>
              <c:numCache>
                <c:formatCode>General</c:formatCode>
                <c:ptCount val="1"/>
                <c:pt idx="0">
                  <c:v>14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5-F9F5-416F-944F-20F524D672A6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</c:strCache>
            </c:strRef>
          </c:tx>
          <c:spPr>
            <a:solidFill>
              <a:srgbClr val="C1F2D6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F9F5-416F-944F-20F524D672A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E$5</c:f>
              <c:numCache>
                <c:formatCode>General</c:formatCode>
                <c:ptCount val="1"/>
                <c:pt idx="0">
                  <c:v>28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7-F9F5-416F-944F-20F524D672A6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</c:strCache>
            </c:strRef>
          </c:tx>
          <c:spPr>
            <a:solidFill>
              <a:srgbClr val="83E7AF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FFFFFF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F9F5-416F-944F-20F524D672A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F$6</c:f>
              <c:numCache>
                <c:formatCode>General</c:formatCode>
                <c:ptCount val="1"/>
                <c:pt idx="0">
                  <c:v>15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9-F9F5-416F-944F-20F524D672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460958063"/>
        <c:axId val="460963887"/>
      </c:barChart>
      <c:catAx>
        <c:axId val="460958063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60963887"/>
        <c:crosses val="autoZero"/>
        <c:auto val="0"/>
        <c:lblAlgn val="ctr"/>
        <c:lblOffset val="100"/>
        <c:noMultiLvlLbl val="0"/>
      </c:catAx>
      <c:valAx>
        <c:axId val="460963887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46095806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 sz="300" b="1" smtId="4294967295"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F6F6F6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B185-4B13-A29B-4E144FA1A46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B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1-B185-4B13-A29B-4E144FA1A468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rgbClr val="FE9D93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FFFFFF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B185-4B13-A29B-4E144FA1A46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C$3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3-B185-4B13-A29B-4E144FA1A468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FECEC8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B185-4B13-A29B-4E144FA1A46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D$4</c:f>
              <c:numCache>
                <c:formatCode>General</c:formatCode>
                <c:ptCount val="1"/>
                <c:pt idx="0">
                  <c:v>9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5-B185-4B13-A29B-4E144FA1A468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</c:strCache>
            </c:strRef>
          </c:tx>
          <c:spPr>
            <a:solidFill>
              <a:srgbClr val="C1F2D6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B185-4B13-A29B-4E144FA1A46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E$5</c:f>
              <c:numCache>
                <c:formatCode>General</c:formatCode>
                <c:ptCount val="1"/>
                <c:pt idx="0">
                  <c:v>27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7-B185-4B13-A29B-4E144FA1A468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</c:strCache>
            </c:strRef>
          </c:tx>
          <c:spPr>
            <a:solidFill>
              <a:srgbClr val="83E7AF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FFFFFF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B185-4B13-A29B-4E144FA1A46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F$6</c:f>
              <c:numCache>
                <c:formatCode>General</c:formatCode>
                <c:ptCount val="1"/>
                <c:pt idx="0">
                  <c:v>22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9-B185-4B13-A29B-4E144FA1A4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460958063"/>
        <c:axId val="460963887"/>
      </c:barChart>
      <c:catAx>
        <c:axId val="460958063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60963887"/>
        <c:crosses val="autoZero"/>
        <c:auto val="0"/>
        <c:lblAlgn val="ctr"/>
        <c:lblOffset val="100"/>
        <c:noMultiLvlLbl val="0"/>
      </c:catAx>
      <c:valAx>
        <c:axId val="460963887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46095806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 sz="300" b="1" smtId="4294967295"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F6F6F6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00EC-4E82-BB6B-FA9FD3155F6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B$2</c:f>
              <c:numCache>
                <c:formatCode>General</c:formatCode>
                <c:ptCount val="1"/>
                <c:pt idx="0">
                  <c:v>17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1-00EC-4E82-BB6B-FA9FD3155F65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rgbClr val="FE9D93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FFFFFF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00EC-4E82-BB6B-FA9FD3155F6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C$3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3-00EC-4E82-BB6B-FA9FD3155F65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FECEC8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00EC-4E82-BB6B-FA9FD3155F6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D$4</c:f>
              <c:numCache>
                <c:formatCode>General</c:formatCode>
                <c:ptCount val="1"/>
                <c:pt idx="0">
                  <c:v>9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5-00EC-4E82-BB6B-FA9FD3155F65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</c:strCache>
            </c:strRef>
          </c:tx>
          <c:spPr>
            <a:solidFill>
              <a:srgbClr val="C1F2D6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00EC-4E82-BB6B-FA9FD3155F6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E$5</c:f>
              <c:numCache>
                <c:formatCode>General</c:formatCode>
                <c:ptCount val="1"/>
                <c:pt idx="0">
                  <c:v>22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7-00EC-4E82-BB6B-FA9FD3155F65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</c:strCache>
            </c:strRef>
          </c:tx>
          <c:spPr>
            <a:solidFill>
              <a:srgbClr val="83E7AF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FFFFFF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00EC-4E82-BB6B-FA9FD3155F6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F$6</c:f>
              <c:numCache>
                <c:formatCode>General</c:formatCode>
                <c:ptCount val="1"/>
                <c:pt idx="0">
                  <c:v>12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9-00EC-4E82-BB6B-FA9FD3155F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460958063"/>
        <c:axId val="460963887"/>
      </c:barChart>
      <c:catAx>
        <c:axId val="460958063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60963887"/>
        <c:crosses val="autoZero"/>
        <c:auto val="0"/>
        <c:lblAlgn val="ctr"/>
        <c:lblOffset val="100"/>
        <c:noMultiLvlLbl val="0"/>
      </c:catAx>
      <c:valAx>
        <c:axId val="460963887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46095806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 sz="300" b="1" smtId="4294967295"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F6F6F6"/>
            </a:solidFill>
          </c:spPr>
          <c:invertIfNegative val="1"/>
          <c:cat>
            <c:multiLvlStrRef>
              <c:f>Sheet1!$B$1</c:f>
            </c:multiLvlStrRef>
          </c:cat>
          <c:val>
            <c:numRef>
              <c:f>Sheet1!$B$2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1-297A-4F96-9DDD-4F98A5444A71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rgbClr val="FE9D93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FFFFFF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297A-4F96-9DDD-4F98A5444A7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C$3</c:f>
              <c:numCache>
                <c:formatCode>General</c:formatCode>
                <c:ptCount val="1"/>
                <c:pt idx="0">
                  <c:v>12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3-297A-4F96-9DDD-4F98A5444A71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FECEC8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297A-4F96-9DDD-4F98A5444A7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D$4</c:f>
              <c:numCache>
                <c:formatCode>General</c:formatCode>
                <c:ptCount val="1"/>
                <c:pt idx="0">
                  <c:v>20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5-297A-4F96-9DDD-4F98A5444A71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</c:strCache>
            </c:strRef>
          </c:tx>
          <c:spPr>
            <a:solidFill>
              <a:srgbClr val="C1F2D6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297A-4F96-9DDD-4F98A5444A7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E$5</c:f>
              <c:numCache>
                <c:formatCode>General</c:formatCode>
                <c:ptCount val="1"/>
                <c:pt idx="0">
                  <c:v>24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7-297A-4F96-9DDD-4F98A5444A71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</c:strCache>
            </c:strRef>
          </c:tx>
          <c:spPr>
            <a:solidFill>
              <a:srgbClr val="83E7AF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FFFFFF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297A-4F96-9DDD-4F98A5444A7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F$6</c:f>
              <c:numCache>
                <c:formatCode>General</c:formatCode>
                <c:ptCount val="1"/>
                <c:pt idx="0">
                  <c:v>6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9-297A-4F96-9DDD-4F98A5444A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460958063"/>
        <c:axId val="460963887"/>
      </c:barChart>
      <c:catAx>
        <c:axId val="460958063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60963887"/>
        <c:crosses val="autoZero"/>
        <c:auto val="0"/>
        <c:lblAlgn val="ctr"/>
        <c:lblOffset val="100"/>
        <c:noMultiLvlLbl val="0"/>
      </c:catAx>
      <c:valAx>
        <c:axId val="460963887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46095806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 sz="300" b="1" smtId="4294967295"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F6F6F6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D92E-4E65-8F03-4FFFF93660D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B$2</c:f>
              <c:numCache>
                <c:formatCode>General</c:formatCode>
                <c:ptCount val="1"/>
                <c:pt idx="0">
                  <c:v>5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1-D92E-4E65-8F03-4FFFF93660DE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rgbClr val="FE9D93"/>
            </a:solidFill>
          </c:spPr>
          <c:invertIfNegative val="1"/>
          <c:cat>
            <c:multiLvlStrRef>
              <c:f>Sheet1!$B$1</c:f>
            </c:multiLvlStrRef>
          </c:cat>
          <c:val>
            <c:numRef>
              <c:f>Sheet1!$C$3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3-D92E-4E65-8F03-4FFFF93660DE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FECEC8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D92E-4E65-8F03-4FFFF93660D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D$4</c:f>
              <c:numCache>
                <c:formatCode>General</c:formatCode>
                <c:ptCount val="1"/>
                <c:pt idx="0">
                  <c:v>17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5-D92E-4E65-8F03-4FFFF93660DE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</c:strCache>
            </c:strRef>
          </c:tx>
          <c:spPr>
            <a:solidFill>
              <a:srgbClr val="C1F2D6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D92E-4E65-8F03-4FFFF93660D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E$5</c:f>
              <c:numCache>
                <c:formatCode>General</c:formatCode>
                <c:ptCount val="1"/>
                <c:pt idx="0">
                  <c:v>32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7-D92E-4E65-8F03-4FFFF93660DE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</c:strCache>
            </c:strRef>
          </c:tx>
          <c:spPr>
            <a:solidFill>
              <a:srgbClr val="83E7AF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FFFFFF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D92E-4E65-8F03-4FFFF93660D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F$6</c:f>
              <c:numCache>
                <c:formatCode>General</c:formatCode>
                <c:ptCount val="1"/>
                <c:pt idx="0">
                  <c:v>8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9-D92E-4E65-8F03-4FFFF93660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460958063"/>
        <c:axId val="460963887"/>
      </c:barChart>
      <c:catAx>
        <c:axId val="460958063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60963887"/>
        <c:crosses val="autoZero"/>
        <c:auto val="0"/>
        <c:lblAlgn val="ctr"/>
        <c:lblOffset val="100"/>
        <c:noMultiLvlLbl val="0"/>
      </c:catAx>
      <c:valAx>
        <c:axId val="460963887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46095806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 sz="300" b="1" smtId="4294967295"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F6F6F6"/>
            </a:solidFill>
          </c:spPr>
          <c:invertIfNegative val="1"/>
          <c:cat>
            <c:multiLvlStrRef>
              <c:f>Sheet1!$B$1</c:f>
            </c:multiLvlStrRef>
          </c:cat>
          <c:val>
            <c:numRef>
              <c:f>Sheet1!$B$2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1-22C3-4C18-8313-2135720F6343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rgbClr val="FE9D93"/>
            </a:solidFill>
          </c:spPr>
          <c:invertIfNegative val="1"/>
          <c:cat>
            <c:multiLvlStrRef>
              <c:f>Sheet1!$B$1</c:f>
            </c:multiLvlStrRef>
          </c:cat>
          <c:val>
            <c:numRef>
              <c:f>Sheet1!$C$3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3-22C3-4C18-8313-2135720F6343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FECEC8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22C3-4C18-8313-2135720F634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D$4</c:f>
              <c:numCache>
                <c:formatCode>General</c:formatCode>
                <c:ptCount val="1"/>
                <c:pt idx="0">
                  <c:v>8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5-22C3-4C18-8313-2135720F6343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</c:strCache>
            </c:strRef>
          </c:tx>
          <c:spPr>
            <a:solidFill>
              <a:srgbClr val="C1F2D6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22C3-4C18-8313-2135720F634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E$5</c:f>
              <c:numCache>
                <c:formatCode>General</c:formatCode>
                <c:ptCount val="1"/>
                <c:pt idx="0">
                  <c:v>26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7-22C3-4C18-8313-2135720F6343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</c:strCache>
            </c:strRef>
          </c:tx>
          <c:spPr>
            <a:solidFill>
              <a:srgbClr val="83E7AF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FFFFFF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22C3-4C18-8313-2135720F634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F$6</c:f>
              <c:numCache>
                <c:formatCode>General</c:formatCode>
                <c:ptCount val="1"/>
                <c:pt idx="0">
                  <c:v>27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9-22C3-4C18-8313-2135720F63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460958063"/>
        <c:axId val="460963887"/>
      </c:barChart>
      <c:catAx>
        <c:axId val="460958063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60963887"/>
        <c:crosses val="autoZero"/>
        <c:auto val="0"/>
        <c:lblAlgn val="ctr"/>
        <c:lblOffset val="100"/>
        <c:noMultiLvlLbl val="0"/>
      </c:catAx>
      <c:valAx>
        <c:axId val="460963887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46095806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 sz="300" b="1" smtId="4294967295"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F6F6F6"/>
            </a:solidFill>
          </c:spPr>
          <c:invertIfNegative val="1"/>
          <c:cat>
            <c:multiLvlStrRef>
              <c:f>Sheet1!$B$1</c:f>
            </c:multiLvlStrRef>
          </c:cat>
          <c:val>
            <c:numRef>
              <c:f>Sheet1!$B$2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1-0A79-4976-B8A4-841BAB843431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rgbClr val="FE9D93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FFFFFF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0A79-4976-B8A4-841BAB84343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C$3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3-0A79-4976-B8A4-841BAB843431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FECEC8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0A79-4976-B8A4-841BAB84343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D$4</c:f>
              <c:numCache>
                <c:formatCode>General</c:formatCode>
                <c:ptCount val="1"/>
                <c:pt idx="0">
                  <c:v>7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5-0A79-4976-B8A4-841BAB843431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</c:strCache>
            </c:strRef>
          </c:tx>
          <c:spPr>
            <a:solidFill>
              <a:srgbClr val="C1F2D6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0A79-4976-B8A4-841BAB84343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E$5</c:f>
              <c:numCache>
                <c:formatCode>General</c:formatCode>
                <c:ptCount val="1"/>
                <c:pt idx="0">
                  <c:v>24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7-0A79-4976-B8A4-841BAB843431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</c:strCache>
            </c:strRef>
          </c:tx>
          <c:spPr>
            <a:solidFill>
              <a:srgbClr val="83E7AF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FFFFFF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0A79-4976-B8A4-841BAB84343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F$6</c:f>
              <c:numCache>
                <c:formatCode>General</c:formatCode>
                <c:ptCount val="1"/>
                <c:pt idx="0">
                  <c:v>29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9-0A79-4976-B8A4-841BAB8434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460958063"/>
        <c:axId val="460963887"/>
      </c:barChart>
      <c:catAx>
        <c:axId val="460958063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60963887"/>
        <c:crosses val="autoZero"/>
        <c:auto val="0"/>
        <c:lblAlgn val="ctr"/>
        <c:lblOffset val="100"/>
        <c:noMultiLvlLbl val="0"/>
      </c:catAx>
      <c:valAx>
        <c:axId val="460963887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46095806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 sz="300" b="1" smtId="4294967295"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F6F6F6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8B5C-49C3-9053-1F7773B5A4D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B$2</c:f>
              <c:numCache>
                <c:formatCode>General</c:formatCode>
                <c:ptCount val="1"/>
                <c:pt idx="0">
                  <c:v>3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1-8B5C-49C3-9053-1F7773B5A4D5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rgbClr val="FE9D93"/>
            </a:solidFill>
          </c:spPr>
          <c:invertIfNegative val="1"/>
          <c:cat>
            <c:multiLvlStrRef>
              <c:f>Sheet1!$B$1</c:f>
            </c:multiLvlStrRef>
          </c:cat>
          <c:val>
            <c:numRef>
              <c:f>Sheet1!$C$3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3-8B5C-49C3-9053-1F7773B5A4D5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FECEC8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8B5C-49C3-9053-1F7773B5A4D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D$4</c:f>
              <c:numCache>
                <c:formatCode>General</c:formatCode>
                <c:ptCount val="1"/>
                <c:pt idx="0">
                  <c:v>15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5-8B5C-49C3-9053-1F7773B5A4D5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</c:strCache>
            </c:strRef>
          </c:tx>
          <c:spPr>
            <a:solidFill>
              <a:srgbClr val="C1F2D6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8B5C-49C3-9053-1F7773B5A4D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E$5</c:f>
              <c:numCache>
                <c:formatCode>General</c:formatCode>
                <c:ptCount val="1"/>
                <c:pt idx="0">
                  <c:v>25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7-8B5C-49C3-9053-1F7773B5A4D5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</c:strCache>
            </c:strRef>
          </c:tx>
          <c:spPr>
            <a:solidFill>
              <a:srgbClr val="83E7AF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FFFFFF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8B5C-49C3-9053-1F7773B5A4D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F$6</c:f>
              <c:numCache>
                <c:formatCode>General</c:formatCode>
                <c:ptCount val="1"/>
                <c:pt idx="0">
                  <c:v>18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9-8B5C-49C3-9053-1F7773B5A4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460958063"/>
        <c:axId val="460963887"/>
      </c:barChart>
      <c:catAx>
        <c:axId val="460958063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60963887"/>
        <c:crosses val="autoZero"/>
        <c:auto val="0"/>
        <c:lblAlgn val="ctr"/>
        <c:lblOffset val="100"/>
        <c:noMultiLvlLbl val="0"/>
      </c:catAx>
      <c:valAx>
        <c:axId val="460963887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46095806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 sz="300" b="1" smtId="4294967295"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F6F6F6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FC66-4B14-A78C-8F6A1CEB24D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B$2</c:f>
              <c:numCache>
                <c:formatCode>General</c:formatCode>
                <c:ptCount val="1"/>
                <c:pt idx="0">
                  <c:v>10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1-FC66-4B14-A78C-8F6A1CEB24D0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rgbClr val="FE9D93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FFFFFF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FC66-4B14-A78C-8F6A1CEB24D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C$3</c:f>
              <c:numCache>
                <c:formatCode>General</c:formatCode>
                <c:ptCount val="1"/>
                <c:pt idx="0">
                  <c:v>4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3-FC66-4B14-A78C-8F6A1CEB24D0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FECEC8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FC66-4B14-A78C-8F6A1CEB24D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D$4</c:f>
              <c:numCache>
                <c:formatCode>General</c:formatCode>
                <c:ptCount val="1"/>
                <c:pt idx="0">
                  <c:v>5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5-FC66-4B14-A78C-8F6A1CEB24D0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</c:strCache>
            </c:strRef>
          </c:tx>
          <c:spPr>
            <a:solidFill>
              <a:srgbClr val="C1F2D6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FC66-4B14-A78C-8F6A1CEB24D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E$5</c:f>
              <c:numCache>
                <c:formatCode>General</c:formatCode>
                <c:ptCount val="1"/>
                <c:pt idx="0">
                  <c:v>23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7-FC66-4B14-A78C-8F6A1CEB24D0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</c:strCache>
            </c:strRef>
          </c:tx>
          <c:spPr>
            <a:solidFill>
              <a:srgbClr val="83E7AF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FFFFFF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FC66-4B14-A78C-8F6A1CEB24D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F$6</c:f>
              <c:numCache>
                <c:formatCode>General</c:formatCode>
                <c:ptCount val="1"/>
                <c:pt idx="0">
                  <c:v>20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9-FC66-4B14-A78C-8F6A1CEB24D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460958063"/>
        <c:axId val="460963887"/>
      </c:barChart>
      <c:catAx>
        <c:axId val="460958063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60963887"/>
        <c:crosses val="autoZero"/>
        <c:auto val="0"/>
        <c:lblAlgn val="ctr"/>
        <c:lblOffset val="100"/>
        <c:noMultiLvlLbl val="0"/>
      </c:catAx>
      <c:valAx>
        <c:axId val="460963887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46095806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 sz="300" b="1" smtId="4294967295"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F6F6F6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F55E-4A8B-B7D8-3B160652C31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B$2</c:f>
              <c:numCache>
                <c:formatCode>General</c:formatCode>
                <c:ptCount val="1"/>
                <c:pt idx="0">
                  <c:v>21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1-F55E-4A8B-B7D8-3B160652C312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rgbClr val="FE9D93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FFFFFF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F55E-4A8B-B7D8-3B160652C31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C$3</c:f>
              <c:numCache>
                <c:formatCode>General</c:formatCode>
                <c:ptCount val="1"/>
                <c:pt idx="0">
                  <c:v>24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3-F55E-4A8B-B7D8-3B160652C312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FECEC8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F55E-4A8B-B7D8-3B160652C31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D$4</c:f>
              <c:numCache>
                <c:formatCode>General</c:formatCode>
                <c:ptCount val="1"/>
                <c:pt idx="0">
                  <c:v>4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5-F55E-4A8B-B7D8-3B160652C312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</c:strCache>
            </c:strRef>
          </c:tx>
          <c:spPr>
            <a:solidFill>
              <a:srgbClr val="C1F2D6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F55E-4A8B-B7D8-3B160652C31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E$5</c:f>
              <c:numCache>
                <c:formatCode>General</c:formatCode>
                <c:ptCount val="1"/>
                <c:pt idx="0">
                  <c:v>3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7-F55E-4A8B-B7D8-3B160652C312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</c:strCache>
            </c:strRef>
          </c:tx>
          <c:spPr>
            <a:solidFill>
              <a:srgbClr val="83E7AF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FFFFFF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F55E-4A8B-B7D8-3B160652C31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F$6</c:f>
              <c:numCache>
                <c:formatCode>General</c:formatCode>
                <c:ptCount val="1"/>
                <c:pt idx="0">
                  <c:v>10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9-F55E-4A8B-B7D8-3B160652C3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460958063"/>
        <c:axId val="460963887"/>
      </c:barChart>
      <c:catAx>
        <c:axId val="460958063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60963887"/>
        <c:crosses val="autoZero"/>
        <c:auto val="0"/>
        <c:lblAlgn val="ctr"/>
        <c:lblOffset val="100"/>
        <c:noMultiLvlLbl val="0"/>
      </c:catAx>
      <c:valAx>
        <c:axId val="460963887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46095806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 sz="300" b="1" smtId="4294967295"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F6F6F6"/>
            </a:solidFill>
          </c:spPr>
          <c:invertIfNegative val="1"/>
          <c:cat>
            <c:multiLvlStrRef>
              <c:f>Sheet1!$B$1</c:f>
            </c:multiLvlStrRef>
          </c:cat>
          <c:val>
            <c:numRef>
              <c:f>Sheet1!$B$2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1-0FB4-4225-B65D-14C5648831E2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rgbClr val="FE9D93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FFFFFF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0FB4-4225-B65D-14C5648831E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C$3</c:f>
              <c:numCache>
                <c:formatCode>General</c:formatCode>
                <c:ptCount val="1"/>
                <c:pt idx="0">
                  <c:v>3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3-0FB4-4225-B65D-14C5648831E2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FECEC8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0FB4-4225-B65D-14C5648831E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D$4</c:f>
              <c:numCache>
                <c:formatCode>General</c:formatCode>
                <c:ptCount val="1"/>
                <c:pt idx="0">
                  <c:v>7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5-0FB4-4225-B65D-14C5648831E2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</c:strCache>
            </c:strRef>
          </c:tx>
          <c:spPr>
            <a:solidFill>
              <a:srgbClr val="C1F2D6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0FB4-4225-B65D-14C5648831E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E$5</c:f>
              <c:numCache>
                <c:formatCode>General</c:formatCode>
                <c:ptCount val="1"/>
                <c:pt idx="0">
                  <c:v>21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7-0FB4-4225-B65D-14C5648831E2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</c:strCache>
            </c:strRef>
          </c:tx>
          <c:spPr>
            <a:solidFill>
              <a:srgbClr val="83E7AF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FFFFFF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0FB4-4225-B65D-14C5648831E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F$6</c:f>
              <c:numCache>
                <c:formatCode>General</c:formatCode>
                <c:ptCount val="1"/>
                <c:pt idx="0">
                  <c:v>31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9-0FB4-4225-B65D-14C5648831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460958063"/>
        <c:axId val="460963887"/>
      </c:barChart>
      <c:catAx>
        <c:axId val="460958063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60963887"/>
        <c:crosses val="autoZero"/>
        <c:auto val="0"/>
        <c:lblAlgn val="ctr"/>
        <c:lblOffset val="100"/>
        <c:noMultiLvlLbl val="0"/>
      </c:catAx>
      <c:valAx>
        <c:axId val="460963887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46095806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 sz="300" b="1" smtId="4294967295"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F6F6F6"/>
            </a:solidFill>
          </c:spPr>
          <c:invertIfNegative val="1"/>
          <c:cat>
            <c:multiLvlStrRef>
              <c:f>Sheet1!$B$1</c:f>
            </c:multiLvlStrRef>
          </c:cat>
          <c:val>
            <c:numRef>
              <c:f>Sheet1!$B$2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1-5031-4E0A-9004-0661AFD91565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rgbClr val="FE9D93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FFFFFF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5031-4E0A-9004-0661AFD9156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C$3</c:f>
              <c:numCache>
                <c:formatCode>General</c:formatCode>
                <c:ptCount val="1"/>
                <c:pt idx="0">
                  <c:v>3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3-5031-4E0A-9004-0661AFD91565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FECEC8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5031-4E0A-9004-0661AFD9156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D$4</c:f>
              <c:numCache>
                <c:formatCode>General</c:formatCode>
                <c:ptCount val="1"/>
                <c:pt idx="0">
                  <c:v>6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5-5031-4E0A-9004-0661AFD91565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</c:strCache>
            </c:strRef>
          </c:tx>
          <c:spPr>
            <a:solidFill>
              <a:srgbClr val="C1F2D6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5031-4E0A-9004-0661AFD9156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E$5</c:f>
              <c:numCache>
                <c:formatCode>General</c:formatCode>
                <c:ptCount val="1"/>
                <c:pt idx="0">
                  <c:v>27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7-5031-4E0A-9004-0661AFD91565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</c:strCache>
            </c:strRef>
          </c:tx>
          <c:spPr>
            <a:solidFill>
              <a:srgbClr val="83E7AF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FFFFFF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5031-4E0A-9004-0661AFD9156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F$6</c:f>
              <c:numCache>
                <c:formatCode>General</c:formatCode>
                <c:ptCount val="1"/>
                <c:pt idx="0">
                  <c:v>26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9-5031-4E0A-9004-0661AFD915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460958063"/>
        <c:axId val="460963887"/>
      </c:barChart>
      <c:catAx>
        <c:axId val="460958063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60963887"/>
        <c:crosses val="autoZero"/>
        <c:auto val="0"/>
        <c:lblAlgn val="ctr"/>
        <c:lblOffset val="100"/>
        <c:noMultiLvlLbl val="0"/>
      </c:catAx>
      <c:valAx>
        <c:axId val="460963887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46095806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 sz="300" b="1" smtId="4294967295"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F6F6F6"/>
            </a:solidFill>
          </c:spPr>
          <c:invertIfNegative val="1"/>
          <c:cat>
            <c:multiLvlStrRef>
              <c:f>Sheet1!$B$1</c:f>
            </c:multiLvlStrRef>
          </c:cat>
          <c:val>
            <c:numRef>
              <c:f>Sheet1!$B$2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1-92F3-46EE-9AEB-BE3126419621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rgbClr val="FE9D93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FFFFFF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92F3-46EE-9AEB-BE312641962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C$3</c:f>
              <c:numCache>
                <c:formatCode>General</c:formatCode>
                <c:ptCount val="1"/>
                <c:pt idx="0">
                  <c:v>10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3-92F3-46EE-9AEB-BE3126419621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FECEC8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92F3-46EE-9AEB-BE312641962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D$4</c:f>
              <c:numCache>
                <c:formatCode>General</c:formatCode>
                <c:ptCount val="1"/>
                <c:pt idx="0">
                  <c:v>12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5-92F3-46EE-9AEB-BE3126419621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</c:strCache>
            </c:strRef>
          </c:tx>
          <c:spPr>
            <a:solidFill>
              <a:srgbClr val="C1F2D6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92F3-46EE-9AEB-BE312641962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E$5</c:f>
              <c:numCache>
                <c:formatCode>General</c:formatCode>
                <c:ptCount val="1"/>
                <c:pt idx="0">
                  <c:v>16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7-92F3-46EE-9AEB-BE3126419621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</c:strCache>
            </c:strRef>
          </c:tx>
          <c:spPr>
            <a:solidFill>
              <a:srgbClr val="83E7AF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FFFFFF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92F3-46EE-9AEB-BE312641962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F$6</c:f>
              <c:numCache>
                <c:formatCode>General</c:formatCode>
                <c:ptCount val="1"/>
                <c:pt idx="0">
                  <c:v>23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9-92F3-46EE-9AEB-BE31264196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460958063"/>
        <c:axId val="460963887"/>
      </c:barChart>
      <c:catAx>
        <c:axId val="460958063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60963887"/>
        <c:crosses val="autoZero"/>
        <c:auto val="0"/>
        <c:lblAlgn val="ctr"/>
        <c:lblOffset val="100"/>
        <c:noMultiLvlLbl val="0"/>
      </c:catAx>
      <c:valAx>
        <c:axId val="460963887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46095806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 sz="300" b="1" smtId="4294967295"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F6F6F6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257A-45F9-A067-998ABD0C9E1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B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1-257A-45F9-A067-998ABD0C9E15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rgbClr val="FE9D93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FFFFFF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257A-45F9-A067-998ABD0C9E1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C$3</c:f>
              <c:numCache>
                <c:formatCode>General</c:formatCode>
                <c:ptCount val="1"/>
                <c:pt idx="0">
                  <c:v>3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3-257A-45F9-A067-998ABD0C9E15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FECEC8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257A-45F9-A067-998ABD0C9E1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D$4</c:f>
              <c:numCache>
                <c:formatCode>General</c:formatCode>
                <c:ptCount val="1"/>
                <c:pt idx="0">
                  <c:v>15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5-257A-45F9-A067-998ABD0C9E15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</c:strCache>
            </c:strRef>
          </c:tx>
          <c:spPr>
            <a:solidFill>
              <a:srgbClr val="C1F2D6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257A-45F9-A067-998ABD0C9E1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E$5</c:f>
              <c:numCache>
                <c:formatCode>General</c:formatCode>
                <c:ptCount val="1"/>
                <c:pt idx="0">
                  <c:v>19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7-257A-45F9-A067-998ABD0C9E15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</c:strCache>
            </c:strRef>
          </c:tx>
          <c:spPr>
            <a:solidFill>
              <a:srgbClr val="83E7AF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FFFFFF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257A-45F9-A067-998ABD0C9E1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F$6</c:f>
              <c:numCache>
                <c:formatCode>General</c:formatCode>
                <c:ptCount val="1"/>
                <c:pt idx="0">
                  <c:v>23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9-257A-45F9-A067-998ABD0C9E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460958063"/>
        <c:axId val="460963887"/>
      </c:barChart>
      <c:catAx>
        <c:axId val="460958063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60963887"/>
        <c:crosses val="autoZero"/>
        <c:auto val="0"/>
        <c:lblAlgn val="ctr"/>
        <c:lblOffset val="100"/>
        <c:noMultiLvlLbl val="0"/>
      </c:catAx>
      <c:valAx>
        <c:axId val="460963887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46095806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 sz="300" b="1" smtId="4294967295"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6688682436943054"/>
          <c:y val="0"/>
          <c:w val="0.63311314582824707"/>
          <c:h val="1"/>
        </c:manualLayout>
      </c:layout>
      <c:barChart>
        <c:barDir val="bar"/>
        <c:grouping val="clustered"/>
        <c:varyColors val="0"/>
        <c:ser>
          <c:idx val="0"/>
          <c:order val="0"/>
          <c:invertIfNegative val="1"/>
          <c:dPt>
            <c:idx val="0"/>
            <c:invertIfNegative val="1"/>
            <c:bubble3D val="0"/>
            <c:spPr>
              <a:solidFill>
                <a:srgbClr val="83E7AF"/>
              </a:solidFill>
            </c:spPr>
            <c:extLst>
              <c:ext xmlns:c16="http://schemas.microsoft.com/office/drawing/2014/chart" uri="{C3380CC4-5D6E-409C-BE32-E72D297353CC}">
                <c16:uniqueId val="{00000001-C300-4CDD-92C0-1A45ED143CB4}"/>
              </c:ext>
            </c:extLst>
          </c:dPt>
          <c:dPt>
            <c:idx val="1"/>
            <c:invertIfNegative val="1"/>
            <c:bubble3D val="0"/>
            <c:spPr>
              <a:solidFill>
                <a:srgbClr val="C1F2D6"/>
              </a:solidFill>
            </c:spPr>
            <c:extLst>
              <c:ext xmlns:c16="http://schemas.microsoft.com/office/drawing/2014/chart" uri="{C3380CC4-5D6E-409C-BE32-E72D297353CC}">
                <c16:uniqueId val="{00000003-C300-4CDD-92C0-1A45ED143CB4}"/>
              </c:ext>
            </c:extLst>
          </c:dPt>
          <c:dPt>
            <c:idx val="2"/>
            <c:invertIfNegative val="1"/>
            <c:bubble3D val="0"/>
            <c:spPr>
              <a:solidFill>
                <a:srgbClr val="FECEC8"/>
              </a:solidFill>
            </c:spPr>
            <c:extLst>
              <c:ext xmlns:c16="http://schemas.microsoft.com/office/drawing/2014/chart" uri="{C3380CC4-5D6E-409C-BE32-E72D297353CC}">
                <c16:uniqueId val="{00000005-C300-4CDD-92C0-1A45ED143CB4}"/>
              </c:ext>
            </c:extLst>
          </c:dPt>
          <c:dPt>
            <c:idx val="3"/>
            <c:invertIfNegative val="1"/>
            <c:bubble3D val="0"/>
            <c:spPr>
              <a:solidFill>
                <a:srgbClr val="FE9D93"/>
              </a:solidFill>
            </c:spPr>
            <c:extLst>
              <c:ext xmlns:c16="http://schemas.microsoft.com/office/drawing/2014/chart" uri="{C3380CC4-5D6E-409C-BE32-E72D297353CC}">
                <c16:uniqueId val="{00000007-C300-4CDD-92C0-1A45ED143CB4}"/>
              </c:ext>
            </c:extLst>
          </c:dPt>
          <c:dPt>
            <c:idx val="4"/>
            <c:invertIfNegative val="1"/>
            <c:bubble3D val="0"/>
            <c:spPr>
              <a:solidFill>
                <a:srgbClr val="F6F6F6"/>
              </a:solidFill>
            </c:spPr>
            <c:extLst>
              <c:ext xmlns:c16="http://schemas.microsoft.com/office/drawing/2014/chart" uri="{C3380CC4-5D6E-409C-BE32-E72D297353CC}">
                <c16:uniqueId val="{00000009-C300-4CDD-92C0-1A45ED143CB4}"/>
              </c:ext>
            </c:extLst>
          </c:dPt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FFFFFF"/>
                      </a:solidFill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C300-4CDD-92C0-1A45ED143CB4}"/>
                </c:ext>
              </c:extLst>
            </c:dLbl>
            <c:dLbl>
              <c:idx val="1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C300-4CDD-92C0-1A45ED143CB4}"/>
                </c:ext>
              </c:extLst>
            </c:dLbl>
            <c:dLbl>
              <c:idx val="2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C300-4CDD-92C0-1A45ED143CB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Instämmer helt</c:v>
                </c:pt>
                <c:pt idx="1">
                  <c:v>Instämmer till stor del</c:v>
                </c:pt>
                <c:pt idx="2">
                  <c:v>Instämmer till viss del</c:v>
                </c:pt>
                <c:pt idx="3">
                  <c:v>Instämmer inte alls</c:v>
                </c:pt>
                <c:pt idx="4">
                  <c:v>Ingen åsikt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33</c:v>
                </c:pt>
                <c:pt idx="1">
                  <c:v>23</c:v>
                </c:pt>
                <c:pt idx="2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C300-4CDD-92C0-1A45ED143C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overlap val="100"/>
        <c:axId val="356951184"/>
        <c:axId val="356953264"/>
      </c:barChart>
      <c:catAx>
        <c:axId val="35695118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ysClr val="window" lastClr="FFFFFF">
                <a:lumMod val="85000"/>
              </a:sys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 smtId="4294967295">
                <a:solidFill>
                  <a:schemeClr val="tx1"/>
                </a:solidFill>
                <a:latin typeface="+mj-lt"/>
                <a:ea typeface="Roboto" panose="02000000000000000000" pitchFamily="2" charset="0"/>
                <a:cs typeface="Calibri" panose="020F0502020204030204" pitchFamily="34" charset="0"/>
              </a:defRPr>
            </a:pPr>
            <a:endParaRPr lang="sv-SE"/>
          </a:p>
        </c:txPr>
        <c:crossAx val="356953264"/>
        <c:crosses val="autoZero"/>
        <c:auto val="0"/>
        <c:lblAlgn val="ctr"/>
        <c:lblOffset val="100"/>
        <c:noMultiLvlLbl val="0"/>
      </c:catAx>
      <c:valAx>
        <c:axId val="356953264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3569511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 smtId="4294967295"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2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2791486978530884E-2"/>
          <c:y val="8.2027964293956757E-2"/>
          <c:w val="0.87880504131317139"/>
          <c:h val="0.86696910858154297"/>
        </c:manualLayout>
      </c:layout>
      <c:areaChart>
        <c:grouping val="standard"/>
        <c:varyColors val="0"/>
        <c:ser>
          <c:idx val="1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rgbClr val="FFFFFF">
                <a:lumMod val="95000"/>
                <a:alpha val="50000"/>
              </a:srgbClr>
            </a:solidFill>
            <a:ln>
              <a:noFill/>
            </a:ln>
            <a:effectLst/>
          </c:spPr>
          <c:cat>
            <c:numRef>
              <c:f>Sheet1!$A$2:$A$4</c:f>
              <c:numCache>
                <c:formatCode>m/d/yyyy</c:formatCode>
                <c:ptCount val="3"/>
                <c:pt idx="0">
                  <c:v>44964.333333333336</c:v>
                </c:pt>
                <c:pt idx="1">
                  <c:v>45055.291666666664</c:v>
                </c:pt>
                <c:pt idx="2">
                  <c:v>45167.34375</c:v>
                </c:pt>
              </c:numCache>
            </c:numRef>
          </c:cat>
          <c:val>
            <c:numRef>
              <c:f>Sheet1!$B$2:$B$4</c:f>
              <c:numCache>
                <c:formatCode>General</c:formatCode>
                <c:ptCount val="3"/>
                <c:pt idx="0">
                  <c:v>75</c:v>
                </c:pt>
                <c:pt idx="1">
                  <c:v>77</c:v>
                </c:pt>
                <c:pt idx="2">
                  <c:v>81</c:v>
                </c:pt>
              </c:numCache>
            </c:numRef>
          </c:val>
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<c:ext xmlns:c16="http://schemas.microsoft.com/office/drawing/2014/chart" uri="{C3380CC4-5D6E-409C-BE32-E72D297353CC}">
              <c16:uniqueId val="{00000000-5CBB-4D74-A389-E1754AE33B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99611007"/>
        <c:axId val="398601599"/>
      </c:areaChart>
      <c:lineChart>
        <c:grouping val="standard"/>
        <c:varyColors val="0"/>
        <c:ser>
          <c:idx val="3"/>
          <c:order val="1"/>
          <c:tx>
            <c:strRef>
              <c:f>Sheet1!$E$1</c:f>
              <c:strCache>
                <c:ptCount val="1"/>
              </c:strCache>
            </c:strRef>
          </c:tx>
          <c:spPr>
            <a:ln w="19050" cap="rnd">
              <a:solidFill>
                <a:sysClr val="window" lastClr="FFFFFF">
                  <a:lumMod val="75000"/>
                </a:sysClr>
              </a:solidFill>
              <a:prstDash val="dash"/>
              <a:round/>
            </a:ln>
            <a:effectLst/>
          </c:spPr>
          <c:marker>
            <c:symbol val="circle"/>
            <c:size val="7"/>
            <c:spPr>
              <a:solidFill>
                <a:sysClr val="window" lastClr="FFFFFF"/>
              </a:solidFill>
              <a:ln w="19050">
                <a:solidFill>
                  <a:sysClr val="window" lastClr="FFFFFF">
                    <a:lumMod val="75000"/>
                  </a:sysClr>
                </a:solidFill>
              </a:ln>
              <a:effectLst/>
            </c:spPr>
          </c:marker>
          <c:cat>
            <c:numRef>
              <c:f>Sheet1!$A$2:$A$4</c:f>
              <c:numCache>
                <c:formatCode>m/d/yyyy</c:formatCode>
                <c:ptCount val="3"/>
                <c:pt idx="0">
                  <c:v>44964.333333333336</c:v>
                </c:pt>
                <c:pt idx="1">
                  <c:v>45055.291666666664</c:v>
                </c:pt>
                <c:pt idx="2">
                  <c:v>45167.34375</c:v>
                </c:pt>
              </c:numCache>
            </c:numRef>
          </c:cat>
          <c:val>
            <c:numRef>
              <c:f>Sheet1!$C$2:$C$4</c:f>
              <c:numCache>
                <c:formatCode>General</c:formatCode>
                <c:ptCount val="3"/>
                <c:pt idx="0">
                  <c:v>71</c:v>
                </c:pt>
                <c:pt idx="1">
                  <c:v>73</c:v>
                </c:pt>
                <c:pt idx="2">
                  <c:v>75</c:v>
                </c:pt>
              </c:numCache>
            </c:numRef>
          </c:val>
          <c:smooth val="0"/>
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<c:ext xmlns:c16="http://schemas.microsoft.com/office/drawing/2014/chart" uri="{C3380CC4-5D6E-409C-BE32-E72D297353CC}">
              <c16:uniqueId val="{00000001-5CBB-4D74-A389-E1754AE33BD1}"/>
            </c:ext>
          </c:extLst>
        </c:ser>
        <c:ser>
          <c:idx val="0"/>
          <c:order val="2"/>
          <c:tx>
            <c:strRef>
              <c:f>Sheet1!$C$1</c:f>
              <c:strCache>
                <c:ptCount val="1"/>
              </c:strCache>
            </c:strRef>
          </c:tx>
          <c:spPr>
            <a:ln w="19050" cap="rnd">
              <a:solidFill>
                <a:srgbClr val="4D4D4D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rgbClr val="FAFAFA"/>
              </a:solidFill>
              <a:ln w="19050">
                <a:solidFill>
                  <a:srgbClr val="4D4D4D"/>
                </a:solidFill>
              </a:ln>
              <a:effectLst/>
            </c:spPr>
          </c:marker>
          <c:cat>
            <c:numRef>
              <c:f>Sheet1!$A$2:$A$4</c:f>
              <c:numCache>
                <c:formatCode>m/d/yyyy</c:formatCode>
                <c:ptCount val="3"/>
                <c:pt idx="0">
                  <c:v>44964.333333333336</c:v>
                </c:pt>
                <c:pt idx="1">
                  <c:v>45055.291666666664</c:v>
                </c:pt>
                <c:pt idx="2">
                  <c:v>45167.34375</c:v>
                </c:pt>
              </c:numCache>
            </c:numRef>
          </c:cat>
          <c:val>
            <c:numRef>
              <c:f>Sheet1!$D$2:$D$4</c:f>
              <c:numCache>
                <c:formatCode>General</c:formatCode>
                <c:ptCount val="3"/>
                <c:pt idx="0">
                  <c:v>75</c:v>
                </c:pt>
                <c:pt idx="1">
                  <c:v>77</c:v>
                </c:pt>
                <c:pt idx="2">
                  <c:v>81</c:v>
                </c:pt>
              </c:numCache>
            </c:numRef>
          </c:val>
          <c:smooth val="0"/>
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<c:ext xmlns:c16="http://schemas.microsoft.com/office/drawing/2014/chart" uri="{C3380CC4-5D6E-409C-BE32-E72D297353CC}">
              <c16:uniqueId val="{00000002-5CBB-4D74-A389-E1754AE33BD1}"/>
            </c:ext>
          </c:extLst>
        </c:ser>
        <c:ser>
          <c:idx val="2"/>
          <c:order val="3"/>
          <c:tx>
            <c:strRef>
              <c:f>Sheet1!$D$1</c:f>
              <c:strCache>
                <c:ptCount val="1"/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10"/>
            <c:spPr>
              <a:solidFill>
                <a:srgbClr val="4A4A49"/>
              </a:solidFill>
              <a:ln w="25400">
                <a:solidFill>
                  <a:schemeClr val="bg1"/>
                </a:solidFill>
              </a:ln>
              <a:effectLst/>
            </c:spPr>
          </c:marker>
          <c:dLbls>
            <c:dLbl>
              <c:idx val="0"/>
              <c:spPr>
                <a:solidFill>
                  <a:srgbClr val="FFFFFF"/>
                </a:solidFill>
                <a:ln w="19050">
                  <a:solidFill>
                    <a:srgbClr val="4A4A49"/>
                  </a:solidFill>
                </a:ln>
                <a:effectLst/>
              </c:spPr>
              <c:txPr>
                <a:bodyPr rot="0" spcFirstLastPara="1" vertOverflow="overflow" horzOverflow="overflow" vert="horz" wrap="none" lIns="36000" tIns="36000" rIns="36000" bIns="36000" anchor="ctr" anchorCtr="1">
                  <a:spAutoFit/>
                </a:bodyPr>
                <a:lstStyle/>
                <a:p>
                  <a:pPr>
                    <a:defRPr sz="800" b="0" i="0" u="none" strike="noStrike" kern="1200" baseline="0" smtId="4294967295">
                      <a:solidFill>
                        <a:schemeClr val="tx1"/>
                      </a:solidFill>
                      <a:latin typeface="+mj-lt"/>
                      <a:ea typeface="+mn-ea"/>
                      <a:cs typeface="Calibri" panose="020F0502020204030204" pitchFamily="34" charset="0"/>
                    </a:defRPr>
                  </a:pPr>
                  <a:endParaRPr lang="sv-S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6="http://schemas.microsoft.com/office/drawing/2014/chart" uri="{C3380CC4-5D6E-409C-BE32-E72D297353CC}">
                  <c16:uniqueId val="{00000000-3007-4DA7-8C09-E7BA02AB66F0}"/>
                </c:ext>
              </c:extLst>
            </c:dLbl>
            <c:dLbl>
              <c:idx val="1"/>
              <c:spPr>
                <a:solidFill>
                  <a:srgbClr val="FFFFFF"/>
                </a:solidFill>
                <a:ln w="19050">
                  <a:solidFill>
                    <a:srgbClr val="4A4A49"/>
                  </a:solidFill>
                </a:ln>
                <a:effectLst/>
              </c:spPr>
              <c:txPr>
                <a:bodyPr rot="0" spcFirstLastPara="1" vertOverflow="overflow" horzOverflow="overflow" vert="horz" wrap="none" lIns="36000" tIns="36000" rIns="36000" bIns="36000" anchor="ctr" anchorCtr="1">
                  <a:spAutoFit/>
                </a:bodyPr>
                <a:lstStyle/>
                <a:p>
                  <a:pPr>
                    <a:defRPr sz="800" b="0" i="0" u="none" strike="noStrike" kern="1200" baseline="0" smtId="4294967295">
                      <a:solidFill>
                        <a:schemeClr val="tx1"/>
                      </a:solidFill>
                      <a:latin typeface="+mj-lt"/>
                      <a:ea typeface="+mn-ea"/>
                      <a:cs typeface="Calibri" panose="020F0502020204030204" pitchFamily="34" charset="0"/>
                    </a:defRPr>
                  </a:pPr>
                  <a:endParaRPr lang="sv-S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6="http://schemas.microsoft.com/office/drawing/2014/chart" uri="{C3380CC4-5D6E-409C-BE32-E72D297353CC}">
                  <c16:uniqueId val="{00000001-3007-4DA7-8C09-E7BA02AB66F0}"/>
                </c:ext>
              </c:extLst>
            </c:dLbl>
            <c:dLbl>
              <c:idx val="2"/>
              <c:spPr>
                <a:solidFill>
                  <a:srgbClr val="FFFFFF"/>
                </a:solidFill>
                <a:ln w="19050">
                  <a:solidFill>
                    <a:srgbClr val="4A4A49"/>
                  </a:solidFill>
                </a:ln>
                <a:effectLst/>
              </c:spPr>
              <c:txPr>
                <a:bodyPr rot="0" spcFirstLastPara="1" vertOverflow="overflow" horzOverflow="overflow" vert="horz" wrap="none" lIns="36000" tIns="36000" rIns="36000" bIns="36000" anchor="ctr" anchorCtr="1">
                  <a:spAutoFit/>
                </a:bodyPr>
                <a:lstStyle/>
                <a:p>
                  <a:pPr>
                    <a:defRPr sz="800" b="0" i="0" u="none" strike="noStrike" kern="1200" baseline="0" smtId="4294967295">
                      <a:solidFill>
                        <a:schemeClr val="tx1"/>
                      </a:solidFill>
                      <a:latin typeface="+mj-lt"/>
                      <a:ea typeface="+mn-ea"/>
                      <a:cs typeface="Calibri" panose="020F0502020204030204" pitchFamily="34" charset="0"/>
                    </a:defRPr>
                  </a:pPr>
                  <a:endParaRPr lang="sv-S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2-3007-4DA7-8C09-E7BA02AB66F0}"/>
                </c:ext>
              </c:extLst>
            </c:dLbl>
            <c:spPr>
              <a:solidFill>
                <a:srgbClr val="FFFFFF"/>
              </a:solidFill>
              <a:ln w="19050">
                <a:solidFill>
                  <a:srgbClr val="4A4A49"/>
                </a:solidFill>
              </a:ln>
              <a:effectLst/>
            </c:spPr>
            <c:txPr>
              <a:bodyPr rot="0" spcFirstLastPara="1" vertOverflow="overflow" horzOverflow="overflow" vert="horz" wrap="none" lIns="36000" tIns="36000" rIns="36000" bIns="36000" anchor="ctr" anchorCtr="1">
                <a:spAutoFit/>
              </a:bodyPr>
              <a:lstStyle/>
              <a:p>
                <a:pPr>
                  <a:defRPr sz="800" b="1" i="0" u="none" strike="noStrike" kern="1200" baseline="0" smtId="4294967295">
                    <a:solidFill>
                      <a:schemeClr val="tx1"/>
                    </a:solidFill>
                    <a:latin typeface="+mj-lt"/>
                    <a:ea typeface="+mn-ea"/>
                    <a:cs typeface="Calibri" panose="020F0502020204030204" pitchFamily="34" charset="0"/>
                  </a:defRPr>
                </a:pPr>
                <a:endParaRPr lang="sv-S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pPr xmlns:c15="http://schemas.microsoft.com/office/drawing/2012/chart">
                  <a:prstGeom prst="roundRec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numRef>
              <c:f>Sheet1!$A$2:$A$4</c:f>
              <c:numCache>
                <c:formatCode>m/d/yyyy</c:formatCode>
                <c:ptCount val="3"/>
                <c:pt idx="0">
                  <c:v>44964.333333333336</c:v>
                </c:pt>
                <c:pt idx="1">
                  <c:v>45055.291666666664</c:v>
                </c:pt>
                <c:pt idx="2">
                  <c:v>45167.34375</c:v>
                </c:pt>
              </c:numCache>
            </c:numRef>
          </c:cat>
          <c:val>
            <c:numRef>
              <c:f>Sheet1!$E$2:$E$4</c:f>
              <c:numCache>
                <c:formatCode>General</c:formatCode>
                <c:ptCount val="3"/>
                <c:pt idx="2" formatCode="##0">
                  <c:v>81</c:v>
                </c:pt>
              </c:numCache>
            </c:numRef>
          </c:val>
          <c:smooth val="1"/>
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<c:ext xmlns:c16="http://schemas.microsoft.com/office/drawing/2014/chart" uri="{C3380CC4-5D6E-409C-BE32-E72D297353CC}">
              <c16:uniqueId val="{00000004-5CBB-4D74-A389-E1754AE33B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99611007"/>
        <c:axId val="398601599"/>
      </c:lineChart>
      <c:dateAx>
        <c:axId val="399611007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ysClr val="window" lastClr="FFFFFF">
                  <a:lumMod val="85000"/>
                </a:sysClr>
              </a:solidFill>
              <a:round/>
            </a:ln>
            <a:effectLst/>
          </c:spPr>
        </c:majorGridlines>
        <c:numFmt formatCode="[$-41D]mmm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700" b="0" i="0" u="none" strike="noStrike" kern="1200" baseline="0" smtId="4294967295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pPr>
            <a:endParaRPr lang="sv-SE"/>
          </a:p>
        </c:txPr>
        <c:crossAx val="398601599"/>
        <c:crosses val="autoZero"/>
        <c:auto val="0"/>
        <c:lblOffset val="100"/>
        <c:baseTimeUnit val="days"/>
        <c:majorUnit val="1"/>
        <c:majorTimeUnit val="months"/>
        <c:minorUnit val="1"/>
        <c:minorTimeUnit val="months"/>
      </c:dateAx>
      <c:valAx>
        <c:axId val="398601599"/>
        <c:scaling>
          <c:orientation val="minMax"/>
          <c:max val="100"/>
          <c:min val="0"/>
        </c:scaling>
        <c:delete val="0"/>
        <c:axPos val="l"/>
        <c:majorGridlines>
          <c:spPr>
            <a:ln w="9525" cap="flat" cmpd="sng" algn="ctr">
              <a:solidFill>
                <a:sysClr val="window" lastClr="FFFFFF">
                  <a:lumMod val="85000"/>
                </a:sysClr>
              </a:solidFill>
              <a:round/>
            </a:ln>
            <a:effectLst/>
          </c:spPr>
        </c:majorGridlines>
        <c:numFmt formatCode="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 smtId="4294967295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pPr>
            <a:endParaRPr lang="sv-SE"/>
          </a:p>
        </c:txPr>
        <c:crossAx val="399611007"/>
        <c:crosses val="autoZero"/>
        <c:crossBetween val="midCat"/>
        <c:majorUnit val="25"/>
        <c:minorUnit val="10"/>
      </c:valAx>
      <c:spPr>
        <a:noFill/>
        <a:ln w="9525">
          <a:solidFill>
            <a:sysClr val="window" lastClr="FFFFFF">
              <a:lumMod val="85000"/>
            </a:sysClr>
          </a:solidFill>
        </a:ln>
        <a:effectLst/>
      </c:spPr>
    </c:plotArea>
    <c:plotVisOnly val="1"/>
    <c:dispBlanksAs val="span"/>
    <c:showDLblsOverMax val="0"/>
  </c:chart>
  <c:spPr>
    <a:noFill/>
    <a:ln>
      <a:noFill/>
    </a:ln>
    <a:effectLst/>
  </c:spPr>
  <c:txPr>
    <a:bodyPr/>
    <a:lstStyle/>
    <a:p>
      <a:pPr>
        <a:defRPr smtId="4294967295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4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6688682436943054"/>
          <c:y val="0"/>
          <c:w val="0.63311314582824707"/>
          <c:h val="1"/>
        </c:manualLayout>
      </c:layout>
      <c:barChart>
        <c:barDir val="bar"/>
        <c:grouping val="clustered"/>
        <c:varyColors val="0"/>
        <c:ser>
          <c:idx val="0"/>
          <c:order val="0"/>
          <c:invertIfNegative val="1"/>
          <c:dPt>
            <c:idx val="0"/>
            <c:invertIfNegative val="1"/>
            <c:bubble3D val="0"/>
            <c:spPr>
              <a:solidFill>
                <a:srgbClr val="83E7AF"/>
              </a:solidFill>
            </c:spPr>
            <c:extLst>
              <c:ext xmlns:c16="http://schemas.microsoft.com/office/drawing/2014/chart" uri="{C3380CC4-5D6E-409C-BE32-E72D297353CC}">
                <c16:uniqueId val="{00000001-2622-45D8-BD54-D6574AB2433C}"/>
              </c:ext>
            </c:extLst>
          </c:dPt>
          <c:dPt>
            <c:idx val="1"/>
            <c:invertIfNegative val="1"/>
            <c:bubble3D val="0"/>
            <c:spPr>
              <a:solidFill>
                <a:srgbClr val="C1F2D6"/>
              </a:solidFill>
            </c:spPr>
            <c:extLst>
              <c:ext xmlns:c16="http://schemas.microsoft.com/office/drawing/2014/chart" uri="{C3380CC4-5D6E-409C-BE32-E72D297353CC}">
                <c16:uniqueId val="{00000003-2622-45D8-BD54-D6574AB2433C}"/>
              </c:ext>
            </c:extLst>
          </c:dPt>
          <c:dPt>
            <c:idx val="2"/>
            <c:invertIfNegative val="1"/>
            <c:bubble3D val="0"/>
            <c:spPr>
              <a:solidFill>
                <a:srgbClr val="FECEC8"/>
              </a:solidFill>
            </c:spPr>
            <c:extLst>
              <c:ext xmlns:c16="http://schemas.microsoft.com/office/drawing/2014/chart" uri="{C3380CC4-5D6E-409C-BE32-E72D297353CC}">
                <c16:uniqueId val="{00000005-2622-45D8-BD54-D6574AB2433C}"/>
              </c:ext>
            </c:extLst>
          </c:dPt>
          <c:dPt>
            <c:idx val="3"/>
            <c:invertIfNegative val="1"/>
            <c:bubble3D val="0"/>
            <c:spPr>
              <a:solidFill>
                <a:srgbClr val="FE9D93"/>
              </a:solidFill>
            </c:spPr>
            <c:extLst>
              <c:ext xmlns:c16="http://schemas.microsoft.com/office/drawing/2014/chart" uri="{C3380CC4-5D6E-409C-BE32-E72D297353CC}">
                <c16:uniqueId val="{00000007-2622-45D8-BD54-D6574AB2433C}"/>
              </c:ext>
            </c:extLst>
          </c:dPt>
          <c:dPt>
            <c:idx val="4"/>
            <c:invertIfNegative val="1"/>
            <c:bubble3D val="0"/>
            <c:spPr>
              <a:solidFill>
                <a:srgbClr val="F6F6F6"/>
              </a:solidFill>
            </c:spPr>
            <c:extLst>
              <c:ext xmlns:c16="http://schemas.microsoft.com/office/drawing/2014/chart" uri="{C3380CC4-5D6E-409C-BE32-E72D297353CC}">
                <c16:uniqueId val="{00000009-2622-45D8-BD54-D6574AB2433C}"/>
              </c:ext>
            </c:extLst>
          </c:dPt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FFFFFF"/>
                      </a:solidFill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2622-45D8-BD54-D6574AB2433C}"/>
                </c:ext>
              </c:extLst>
            </c:dLbl>
            <c:dLbl>
              <c:idx val="1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2622-45D8-BD54-D6574AB2433C}"/>
                </c:ext>
              </c:extLst>
            </c:dLbl>
            <c:dLbl>
              <c:idx val="2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2622-45D8-BD54-D6574AB2433C}"/>
                </c:ext>
              </c:extLst>
            </c:dLbl>
            <c:dLbl>
              <c:idx val="3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2622-45D8-BD54-D6574AB2433C}"/>
                </c:ext>
              </c:extLst>
            </c:dLbl>
            <c:dLbl>
              <c:idx val="4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9-2622-45D8-BD54-D6574AB2433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Instämmer helt</c:v>
                </c:pt>
                <c:pt idx="1">
                  <c:v>Instämmer till stor del</c:v>
                </c:pt>
                <c:pt idx="2">
                  <c:v>Instämmer till viss del</c:v>
                </c:pt>
                <c:pt idx="3">
                  <c:v>Instämmer inte alls</c:v>
                </c:pt>
                <c:pt idx="4">
                  <c:v>Ingen åsikt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2</c:v>
                </c:pt>
                <c:pt idx="1">
                  <c:v>27</c:v>
                </c:pt>
                <c:pt idx="2">
                  <c:v>9</c:v>
                </c:pt>
                <c:pt idx="3">
                  <c:v>2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2622-45D8-BD54-D6574AB243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overlap val="100"/>
        <c:axId val="356951184"/>
        <c:axId val="356953264"/>
      </c:barChart>
      <c:catAx>
        <c:axId val="35695118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ysClr val="window" lastClr="FFFFFF">
                <a:lumMod val="85000"/>
              </a:sys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 smtId="4294967295">
                <a:solidFill>
                  <a:schemeClr val="tx1"/>
                </a:solidFill>
                <a:latin typeface="+mj-lt"/>
                <a:ea typeface="Roboto" panose="02000000000000000000" pitchFamily="2" charset="0"/>
                <a:cs typeface="Calibri" panose="020F0502020204030204" pitchFamily="34" charset="0"/>
              </a:defRPr>
            </a:pPr>
            <a:endParaRPr lang="sv-SE"/>
          </a:p>
        </c:txPr>
        <c:crossAx val="356953264"/>
        <c:crosses val="autoZero"/>
        <c:auto val="0"/>
        <c:lblAlgn val="ctr"/>
        <c:lblOffset val="100"/>
        <c:noMultiLvlLbl val="0"/>
      </c:catAx>
      <c:valAx>
        <c:axId val="356953264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3569511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 smtId="4294967295"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2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2791486978530884E-2"/>
          <c:y val="8.2027964293956757E-2"/>
          <c:w val="0.87880504131317139"/>
          <c:h val="0.86696910858154297"/>
        </c:manualLayout>
      </c:layout>
      <c:areaChart>
        <c:grouping val="standard"/>
        <c:varyColors val="0"/>
        <c:ser>
          <c:idx val="1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rgbClr val="FFFFFF">
                <a:lumMod val="95000"/>
                <a:alpha val="50000"/>
              </a:srgbClr>
            </a:solidFill>
            <a:ln>
              <a:noFill/>
            </a:ln>
            <a:effectLst/>
          </c:spPr>
          <c:cat>
            <c:numRef>
              <c:f>Sheet1!$A$2:$A$4</c:f>
              <c:numCache>
                <c:formatCode>m/d/yyyy</c:formatCode>
                <c:ptCount val="3"/>
                <c:pt idx="0">
                  <c:v>44964.333333333336</c:v>
                </c:pt>
                <c:pt idx="1">
                  <c:v>45055.291666666664</c:v>
                </c:pt>
                <c:pt idx="2">
                  <c:v>45167.34375</c:v>
                </c:pt>
              </c:numCache>
            </c:numRef>
          </c:cat>
          <c:val>
            <c:numRef>
              <c:f>Sheet1!$B$2:$B$4</c:f>
              <c:numCache>
                <c:formatCode>General</c:formatCode>
                <c:ptCount val="3"/>
                <c:pt idx="0">
                  <c:v>74</c:v>
                </c:pt>
                <c:pt idx="1">
                  <c:v>70</c:v>
                </c:pt>
                <c:pt idx="2">
                  <c:v>72</c:v>
                </c:pt>
              </c:numCache>
            </c:numRef>
          </c:val>
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<c:ext xmlns:c16="http://schemas.microsoft.com/office/drawing/2014/chart" uri="{C3380CC4-5D6E-409C-BE32-E72D297353CC}">
              <c16:uniqueId val="{00000000-5CBB-4D74-A389-E1754AE33B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99611007"/>
        <c:axId val="398601599"/>
      </c:areaChart>
      <c:lineChart>
        <c:grouping val="standard"/>
        <c:varyColors val="0"/>
        <c:ser>
          <c:idx val="3"/>
          <c:order val="1"/>
          <c:tx>
            <c:strRef>
              <c:f>Sheet1!$E$1</c:f>
              <c:strCache>
                <c:ptCount val="1"/>
              </c:strCache>
            </c:strRef>
          </c:tx>
          <c:spPr>
            <a:ln w="19050" cap="rnd">
              <a:solidFill>
                <a:sysClr val="window" lastClr="FFFFFF">
                  <a:lumMod val="75000"/>
                </a:sysClr>
              </a:solidFill>
              <a:prstDash val="dash"/>
              <a:round/>
            </a:ln>
            <a:effectLst/>
          </c:spPr>
          <c:marker>
            <c:symbol val="circle"/>
            <c:size val="7"/>
            <c:spPr>
              <a:solidFill>
                <a:sysClr val="window" lastClr="FFFFFF"/>
              </a:solidFill>
              <a:ln w="19050">
                <a:solidFill>
                  <a:sysClr val="window" lastClr="FFFFFF">
                    <a:lumMod val="75000"/>
                  </a:sysClr>
                </a:solidFill>
              </a:ln>
              <a:effectLst/>
            </c:spPr>
          </c:marker>
          <c:cat>
            <c:numRef>
              <c:f>Sheet1!$A$2:$A$4</c:f>
              <c:numCache>
                <c:formatCode>m/d/yyyy</c:formatCode>
                <c:ptCount val="3"/>
                <c:pt idx="0">
                  <c:v>44964.333333333336</c:v>
                </c:pt>
                <c:pt idx="1">
                  <c:v>45055.291666666664</c:v>
                </c:pt>
                <c:pt idx="2">
                  <c:v>45167.34375</c:v>
                </c:pt>
              </c:numCache>
            </c:numRef>
          </c:cat>
          <c:val>
            <c:numRef>
              <c:f>Sheet1!$C$2:$C$4</c:f>
              <c:numCache>
                <c:formatCode>General</c:formatCode>
                <c:ptCount val="3"/>
                <c:pt idx="0">
                  <c:v>60</c:v>
                </c:pt>
                <c:pt idx="1">
                  <c:v>63</c:v>
                </c:pt>
                <c:pt idx="2">
                  <c:v>64</c:v>
                </c:pt>
              </c:numCache>
            </c:numRef>
          </c:val>
          <c:smooth val="0"/>
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<c:ext xmlns:c16="http://schemas.microsoft.com/office/drawing/2014/chart" uri="{C3380CC4-5D6E-409C-BE32-E72D297353CC}">
              <c16:uniqueId val="{00000001-5CBB-4D74-A389-E1754AE33BD1}"/>
            </c:ext>
          </c:extLst>
        </c:ser>
        <c:ser>
          <c:idx val="0"/>
          <c:order val="2"/>
          <c:tx>
            <c:strRef>
              <c:f>Sheet1!$C$1</c:f>
              <c:strCache>
                <c:ptCount val="1"/>
              </c:strCache>
            </c:strRef>
          </c:tx>
          <c:spPr>
            <a:ln w="19050" cap="rnd">
              <a:solidFill>
                <a:srgbClr val="4D4D4D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rgbClr val="FAFAFA"/>
              </a:solidFill>
              <a:ln w="19050">
                <a:solidFill>
                  <a:srgbClr val="4D4D4D"/>
                </a:solidFill>
              </a:ln>
              <a:effectLst/>
            </c:spPr>
          </c:marker>
          <c:cat>
            <c:numRef>
              <c:f>Sheet1!$A$2:$A$4</c:f>
              <c:numCache>
                <c:formatCode>m/d/yyyy</c:formatCode>
                <c:ptCount val="3"/>
                <c:pt idx="0">
                  <c:v>44964.333333333336</c:v>
                </c:pt>
                <c:pt idx="1">
                  <c:v>45055.291666666664</c:v>
                </c:pt>
                <c:pt idx="2">
                  <c:v>45167.34375</c:v>
                </c:pt>
              </c:numCache>
            </c:numRef>
          </c:cat>
          <c:val>
            <c:numRef>
              <c:f>Sheet1!$D$2:$D$4</c:f>
              <c:numCache>
                <c:formatCode>General</c:formatCode>
                <c:ptCount val="3"/>
                <c:pt idx="0">
                  <c:v>74</c:v>
                </c:pt>
                <c:pt idx="1">
                  <c:v>70</c:v>
                </c:pt>
                <c:pt idx="2">
                  <c:v>72</c:v>
                </c:pt>
              </c:numCache>
            </c:numRef>
          </c:val>
          <c:smooth val="0"/>
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<c:ext xmlns:c16="http://schemas.microsoft.com/office/drawing/2014/chart" uri="{C3380CC4-5D6E-409C-BE32-E72D297353CC}">
              <c16:uniqueId val="{00000002-5CBB-4D74-A389-E1754AE33BD1}"/>
            </c:ext>
          </c:extLst>
        </c:ser>
        <c:ser>
          <c:idx val="2"/>
          <c:order val="3"/>
          <c:tx>
            <c:strRef>
              <c:f>Sheet1!$D$1</c:f>
              <c:strCache>
                <c:ptCount val="1"/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10"/>
            <c:spPr>
              <a:solidFill>
                <a:srgbClr val="4A4A49"/>
              </a:solidFill>
              <a:ln w="25400">
                <a:solidFill>
                  <a:schemeClr val="bg1"/>
                </a:solidFill>
              </a:ln>
              <a:effectLst/>
            </c:spPr>
          </c:marker>
          <c:dLbls>
            <c:dLbl>
              <c:idx val="0"/>
              <c:spPr>
                <a:solidFill>
                  <a:srgbClr val="FFFFFF"/>
                </a:solidFill>
                <a:ln w="19050">
                  <a:solidFill>
                    <a:srgbClr val="4A4A49"/>
                  </a:solidFill>
                </a:ln>
                <a:effectLst/>
              </c:spPr>
              <c:txPr>
                <a:bodyPr rot="0" spcFirstLastPara="1" vertOverflow="overflow" horzOverflow="overflow" vert="horz" wrap="none" lIns="36000" tIns="36000" rIns="36000" bIns="36000" anchor="ctr" anchorCtr="1">
                  <a:spAutoFit/>
                </a:bodyPr>
                <a:lstStyle/>
                <a:p>
                  <a:pPr>
                    <a:defRPr sz="800" b="0" i="0" u="none" strike="noStrike" kern="1200" baseline="0" smtId="4294967295">
                      <a:solidFill>
                        <a:schemeClr val="tx1"/>
                      </a:solidFill>
                      <a:latin typeface="+mj-lt"/>
                      <a:ea typeface="+mn-ea"/>
                      <a:cs typeface="Calibri" panose="020F0502020204030204" pitchFamily="34" charset="0"/>
                    </a:defRPr>
                  </a:pPr>
                  <a:endParaRPr lang="sv-S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6="http://schemas.microsoft.com/office/drawing/2014/chart" uri="{C3380CC4-5D6E-409C-BE32-E72D297353CC}">
                  <c16:uniqueId val="{00000000-D84C-467A-A095-38CF6A60B6FD}"/>
                </c:ext>
              </c:extLst>
            </c:dLbl>
            <c:dLbl>
              <c:idx val="1"/>
              <c:spPr>
                <a:solidFill>
                  <a:srgbClr val="FFFFFF"/>
                </a:solidFill>
                <a:ln w="19050">
                  <a:solidFill>
                    <a:srgbClr val="4A4A49"/>
                  </a:solidFill>
                </a:ln>
                <a:effectLst/>
              </c:spPr>
              <c:txPr>
                <a:bodyPr rot="0" spcFirstLastPara="1" vertOverflow="overflow" horzOverflow="overflow" vert="horz" wrap="none" lIns="36000" tIns="36000" rIns="36000" bIns="36000" anchor="ctr" anchorCtr="1">
                  <a:spAutoFit/>
                </a:bodyPr>
                <a:lstStyle/>
                <a:p>
                  <a:pPr>
                    <a:defRPr sz="800" b="0" i="0" u="none" strike="noStrike" kern="1200" baseline="0" smtId="4294967295">
                      <a:solidFill>
                        <a:schemeClr val="tx1"/>
                      </a:solidFill>
                      <a:latin typeface="+mj-lt"/>
                      <a:ea typeface="+mn-ea"/>
                      <a:cs typeface="Calibri" panose="020F0502020204030204" pitchFamily="34" charset="0"/>
                    </a:defRPr>
                  </a:pPr>
                  <a:endParaRPr lang="sv-S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6="http://schemas.microsoft.com/office/drawing/2014/chart" uri="{C3380CC4-5D6E-409C-BE32-E72D297353CC}">
                  <c16:uniqueId val="{00000001-D84C-467A-A095-38CF6A60B6FD}"/>
                </c:ext>
              </c:extLst>
            </c:dLbl>
            <c:dLbl>
              <c:idx val="2"/>
              <c:spPr>
                <a:solidFill>
                  <a:srgbClr val="FFFFFF"/>
                </a:solidFill>
                <a:ln w="19050">
                  <a:solidFill>
                    <a:srgbClr val="4A4A49"/>
                  </a:solidFill>
                </a:ln>
                <a:effectLst/>
              </c:spPr>
              <c:txPr>
                <a:bodyPr rot="0" spcFirstLastPara="1" vertOverflow="overflow" horzOverflow="overflow" vert="horz" wrap="none" lIns="36000" tIns="36000" rIns="36000" bIns="36000" anchor="ctr" anchorCtr="1">
                  <a:spAutoFit/>
                </a:bodyPr>
                <a:lstStyle/>
                <a:p>
                  <a:pPr>
                    <a:defRPr sz="800" b="0" i="0" u="none" strike="noStrike" kern="1200" baseline="0" smtId="4294967295">
                      <a:solidFill>
                        <a:schemeClr val="tx1"/>
                      </a:solidFill>
                      <a:latin typeface="+mj-lt"/>
                      <a:ea typeface="+mn-ea"/>
                      <a:cs typeface="Calibri" panose="020F0502020204030204" pitchFamily="34" charset="0"/>
                    </a:defRPr>
                  </a:pPr>
                  <a:endParaRPr lang="sv-S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2-D84C-467A-A095-38CF6A60B6FD}"/>
                </c:ext>
              </c:extLst>
            </c:dLbl>
            <c:spPr>
              <a:solidFill>
                <a:srgbClr val="FFFFFF"/>
              </a:solidFill>
              <a:ln w="19050">
                <a:solidFill>
                  <a:srgbClr val="4A4A49"/>
                </a:solidFill>
              </a:ln>
              <a:effectLst/>
            </c:spPr>
            <c:txPr>
              <a:bodyPr rot="0" spcFirstLastPara="1" vertOverflow="overflow" horzOverflow="overflow" vert="horz" wrap="none" lIns="36000" tIns="36000" rIns="36000" bIns="36000" anchor="ctr" anchorCtr="1">
                <a:spAutoFit/>
              </a:bodyPr>
              <a:lstStyle/>
              <a:p>
                <a:pPr>
                  <a:defRPr sz="800" b="1" i="0" u="none" strike="noStrike" kern="1200" baseline="0" smtId="4294967295">
                    <a:solidFill>
                      <a:schemeClr val="tx1"/>
                    </a:solidFill>
                    <a:latin typeface="+mj-lt"/>
                    <a:ea typeface="+mn-ea"/>
                    <a:cs typeface="Calibri" panose="020F0502020204030204" pitchFamily="34" charset="0"/>
                  </a:defRPr>
                </a:pPr>
                <a:endParaRPr lang="sv-S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pPr xmlns:c15="http://schemas.microsoft.com/office/drawing/2012/chart">
                  <a:prstGeom prst="roundRec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numRef>
              <c:f>Sheet1!$A$2:$A$4</c:f>
              <c:numCache>
                <c:formatCode>m/d/yyyy</c:formatCode>
                <c:ptCount val="3"/>
                <c:pt idx="0">
                  <c:v>44964.333333333336</c:v>
                </c:pt>
                <c:pt idx="1">
                  <c:v>45055.291666666664</c:v>
                </c:pt>
                <c:pt idx="2">
                  <c:v>45167.34375</c:v>
                </c:pt>
              </c:numCache>
            </c:numRef>
          </c:cat>
          <c:val>
            <c:numRef>
              <c:f>Sheet1!$E$2:$E$4</c:f>
              <c:numCache>
                <c:formatCode>General</c:formatCode>
                <c:ptCount val="3"/>
                <c:pt idx="2" formatCode="##0">
                  <c:v>72</c:v>
                </c:pt>
              </c:numCache>
            </c:numRef>
          </c:val>
          <c:smooth val="1"/>
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<c:ext xmlns:c16="http://schemas.microsoft.com/office/drawing/2014/chart" uri="{C3380CC4-5D6E-409C-BE32-E72D297353CC}">
              <c16:uniqueId val="{00000004-5CBB-4D74-A389-E1754AE33B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99611007"/>
        <c:axId val="398601599"/>
      </c:lineChart>
      <c:dateAx>
        <c:axId val="399611007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ysClr val="window" lastClr="FFFFFF">
                  <a:lumMod val="85000"/>
                </a:sysClr>
              </a:solidFill>
              <a:round/>
            </a:ln>
            <a:effectLst/>
          </c:spPr>
        </c:majorGridlines>
        <c:numFmt formatCode="[$-41D]mmm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700" b="0" i="0" u="none" strike="noStrike" kern="1200" baseline="0" smtId="4294967295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pPr>
            <a:endParaRPr lang="sv-SE"/>
          </a:p>
        </c:txPr>
        <c:crossAx val="398601599"/>
        <c:crosses val="autoZero"/>
        <c:auto val="0"/>
        <c:lblOffset val="100"/>
        <c:baseTimeUnit val="days"/>
        <c:majorUnit val="1"/>
        <c:majorTimeUnit val="months"/>
        <c:minorUnit val="1"/>
        <c:minorTimeUnit val="months"/>
      </c:dateAx>
      <c:valAx>
        <c:axId val="398601599"/>
        <c:scaling>
          <c:orientation val="minMax"/>
          <c:max val="100"/>
          <c:min val="0"/>
        </c:scaling>
        <c:delete val="0"/>
        <c:axPos val="l"/>
        <c:majorGridlines>
          <c:spPr>
            <a:ln w="9525" cap="flat" cmpd="sng" algn="ctr">
              <a:solidFill>
                <a:sysClr val="window" lastClr="FFFFFF">
                  <a:lumMod val="85000"/>
                </a:sysClr>
              </a:solidFill>
              <a:round/>
            </a:ln>
            <a:effectLst/>
          </c:spPr>
        </c:majorGridlines>
        <c:numFmt formatCode="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 smtId="4294967295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pPr>
            <a:endParaRPr lang="sv-SE"/>
          </a:p>
        </c:txPr>
        <c:crossAx val="399611007"/>
        <c:crosses val="autoZero"/>
        <c:crossBetween val="midCat"/>
        <c:majorUnit val="25"/>
        <c:minorUnit val="10"/>
      </c:valAx>
      <c:spPr>
        <a:noFill/>
        <a:ln w="9525">
          <a:solidFill>
            <a:sysClr val="window" lastClr="FFFFFF">
              <a:lumMod val="85000"/>
            </a:sysClr>
          </a:solidFill>
        </a:ln>
        <a:effectLst/>
      </c:spPr>
    </c:plotArea>
    <c:plotVisOnly val="1"/>
    <c:dispBlanksAs val="span"/>
    <c:showDLblsOverMax val="0"/>
  </c:chart>
  <c:spPr>
    <a:noFill/>
    <a:ln>
      <a:noFill/>
    </a:ln>
    <a:effectLst/>
  </c:spPr>
  <c:txPr>
    <a:bodyPr/>
    <a:lstStyle/>
    <a:p>
      <a:pPr>
        <a:defRPr smtId="4294967295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4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6688682436943054"/>
          <c:y val="0"/>
          <c:w val="0.63311314582824707"/>
          <c:h val="1"/>
        </c:manualLayout>
      </c:layout>
      <c:barChart>
        <c:barDir val="bar"/>
        <c:grouping val="clustered"/>
        <c:varyColors val="0"/>
        <c:ser>
          <c:idx val="0"/>
          <c:order val="0"/>
          <c:invertIfNegative val="1"/>
          <c:dPt>
            <c:idx val="0"/>
            <c:invertIfNegative val="1"/>
            <c:bubble3D val="0"/>
            <c:spPr>
              <a:solidFill>
                <a:srgbClr val="83E7AF"/>
              </a:solidFill>
            </c:spPr>
            <c:extLst>
              <c:ext xmlns:c16="http://schemas.microsoft.com/office/drawing/2014/chart" uri="{C3380CC4-5D6E-409C-BE32-E72D297353CC}">
                <c16:uniqueId val="{00000001-9C1B-40AD-93C9-14F23E0A250C}"/>
              </c:ext>
            </c:extLst>
          </c:dPt>
          <c:dPt>
            <c:idx val="1"/>
            <c:invertIfNegative val="1"/>
            <c:bubble3D val="0"/>
            <c:spPr>
              <a:solidFill>
                <a:srgbClr val="C1F2D6"/>
              </a:solidFill>
            </c:spPr>
            <c:extLst>
              <c:ext xmlns:c16="http://schemas.microsoft.com/office/drawing/2014/chart" uri="{C3380CC4-5D6E-409C-BE32-E72D297353CC}">
                <c16:uniqueId val="{00000003-9C1B-40AD-93C9-14F23E0A250C}"/>
              </c:ext>
            </c:extLst>
          </c:dPt>
          <c:dPt>
            <c:idx val="2"/>
            <c:invertIfNegative val="1"/>
            <c:bubble3D val="0"/>
            <c:spPr>
              <a:solidFill>
                <a:srgbClr val="FECEC8"/>
              </a:solidFill>
            </c:spPr>
            <c:extLst>
              <c:ext xmlns:c16="http://schemas.microsoft.com/office/drawing/2014/chart" uri="{C3380CC4-5D6E-409C-BE32-E72D297353CC}">
                <c16:uniqueId val="{00000005-9C1B-40AD-93C9-14F23E0A250C}"/>
              </c:ext>
            </c:extLst>
          </c:dPt>
          <c:dPt>
            <c:idx val="3"/>
            <c:invertIfNegative val="1"/>
            <c:bubble3D val="0"/>
            <c:spPr>
              <a:solidFill>
                <a:srgbClr val="FE9D93"/>
              </a:solidFill>
            </c:spPr>
            <c:extLst>
              <c:ext xmlns:c16="http://schemas.microsoft.com/office/drawing/2014/chart" uri="{C3380CC4-5D6E-409C-BE32-E72D297353CC}">
                <c16:uniqueId val="{00000007-9C1B-40AD-93C9-14F23E0A250C}"/>
              </c:ext>
            </c:extLst>
          </c:dPt>
          <c:dPt>
            <c:idx val="4"/>
            <c:invertIfNegative val="1"/>
            <c:bubble3D val="0"/>
            <c:spPr>
              <a:solidFill>
                <a:srgbClr val="F6F6F6"/>
              </a:solidFill>
            </c:spPr>
            <c:extLst>
              <c:ext xmlns:c16="http://schemas.microsoft.com/office/drawing/2014/chart" uri="{C3380CC4-5D6E-409C-BE32-E72D297353CC}">
                <c16:uniqueId val="{00000009-9C1B-40AD-93C9-14F23E0A250C}"/>
              </c:ext>
            </c:extLst>
          </c:dPt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FFFFFF"/>
                      </a:solidFill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9C1B-40AD-93C9-14F23E0A250C}"/>
                </c:ext>
              </c:extLst>
            </c:dLbl>
            <c:dLbl>
              <c:idx val="1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9C1B-40AD-93C9-14F23E0A250C}"/>
                </c:ext>
              </c:extLst>
            </c:dLbl>
            <c:dLbl>
              <c:idx val="2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9C1B-40AD-93C9-14F23E0A250C}"/>
                </c:ext>
              </c:extLst>
            </c:dLbl>
            <c:dLbl>
              <c:idx val="3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9C1B-40AD-93C9-14F23E0A250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Instämmer helt</c:v>
                </c:pt>
                <c:pt idx="1">
                  <c:v>Instämmer till stor del</c:v>
                </c:pt>
                <c:pt idx="2">
                  <c:v>Instämmer till viss del</c:v>
                </c:pt>
                <c:pt idx="3">
                  <c:v>Instämmer inte alls</c:v>
                </c:pt>
                <c:pt idx="4">
                  <c:v>Ingen åsikt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5</c:v>
                </c:pt>
                <c:pt idx="1">
                  <c:v>25</c:v>
                </c:pt>
                <c:pt idx="2">
                  <c:v>10</c:v>
                </c:pt>
                <c:pt idx="3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C1B-40AD-93C9-14F23E0A25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overlap val="100"/>
        <c:axId val="356951184"/>
        <c:axId val="356953264"/>
      </c:barChart>
      <c:catAx>
        <c:axId val="35695118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ysClr val="window" lastClr="FFFFFF">
                <a:lumMod val="85000"/>
              </a:sys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 smtId="4294967295">
                <a:solidFill>
                  <a:schemeClr val="tx1"/>
                </a:solidFill>
                <a:latin typeface="+mj-lt"/>
                <a:ea typeface="Roboto" panose="02000000000000000000" pitchFamily="2" charset="0"/>
                <a:cs typeface="Calibri" panose="020F0502020204030204" pitchFamily="34" charset="0"/>
              </a:defRPr>
            </a:pPr>
            <a:endParaRPr lang="sv-SE"/>
          </a:p>
        </c:txPr>
        <c:crossAx val="356953264"/>
        <c:crosses val="autoZero"/>
        <c:auto val="0"/>
        <c:lblAlgn val="ctr"/>
        <c:lblOffset val="100"/>
        <c:noMultiLvlLbl val="0"/>
      </c:catAx>
      <c:valAx>
        <c:axId val="356953264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3569511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 smtId="4294967295"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2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2791486978530884E-2"/>
          <c:y val="8.2027964293956757E-2"/>
          <c:w val="0.87880504131317139"/>
          <c:h val="0.86696910858154297"/>
        </c:manualLayout>
      </c:layout>
      <c:areaChart>
        <c:grouping val="standard"/>
        <c:varyColors val="0"/>
        <c:ser>
          <c:idx val="1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rgbClr val="FFFFFF">
                <a:lumMod val="95000"/>
                <a:alpha val="50000"/>
              </a:srgbClr>
            </a:solidFill>
            <a:ln>
              <a:noFill/>
            </a:ln>
            <a:effectLst/>
          </c:spPr>
          <c:cat>
            <c:numRef>
              <c:f>Sheet1!$A$2:$A$4</c:f>
              <c:numCache>
                <c:formatCode>m/d/yyyy</c:formatCode>
                <c:ptCount val="3"/>
                <c:pt idx="0">
                  <c:v>44964.333333333336</c:v>
                </c:pt>
                <c:pt idx="1">
                  <c:v>45055.291666666664</c:v>
                </c:pt>
                <c:pt idx="2">
                  <c:v>45167.34375</c:v>
                </c:pt>
              </c:numCache>
            </c:numRef>
          </c:cat>
          <c:val>
            <c:numRef>
              <c:f>Sheet1!$B$2:$B$4</c:f>
              <c:numCache>
                <c:formatCode>General</c:formatCode>
                <c:ptCount val="3"/>
                <c:pt idx="0">
                  <c:v>69</c:v>
                </c:pt>
                <c:pt idx="1">
                  <c:v>70</c:v>
                </c:pt>
                <c:pt idx="2">
                  <c:v>73</c:v>
                </c:pt>
              </c:numCache>
            </c:numRef>
          </c:val>
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<c:ext xmlns:c16="http://schemas.microsoft.com/office/drawing/2014/chart" uri="{C3380CC4-5D6E-409C-BE32-E72D297353CC}">
              <c16:uniqueId val="{00000000-5CBB-4D74-A389-E1754AE33B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99611007"/>
        <c:axId val="398601599"/>
      </c:areaChart>
      <c:lineChart>
        <c:grouping val="standard"/>
        <c:varyColors val="0"/>
        <c:ser>
          <c:idx val="3"/>
          <c:order val="1"/>
          <c:tx>
            <c:strRef>
              <c:f>Sheet1!$E$1</c:f>
              <c:strCache>
                <c:ptCount val="1"/>
              </c:strCache>
            </c:strRef>
          </c:tx>
          <c:spPr>
            <a:ln w="19050" cap="rnd">
              <a:solidFill>
                <a:sysClr val="window" lastClr="FFFFFF">
                  <a:lumMod val="75000"/>
                </a:sysClr>
              </a:solidFill>
              <a:prstDash val="dash"/>
              <a:round/>
            </a:ln>
            <a:effectLst/>
          </c:spPr>
          <c:marker>
            <c:symbol val="circle"/>
            <c:size val="7"/>
            <c:spPr>
              <a:solidFill>
                <a:sysClr val="window" lastClr="FFFFFF"/>
              </a:solidFill>
              <a:ln w="19050">
                <a:solidFill>
                  <a:sysClr val="window" lastClr="FFFFFF">
                    <a:lumMod val="75000"/>
                  </a:sysClr>
                </a:solidFill>
              </a:ln>
              <a:effectLst/>
            </c:spPr>
          </c:marker>
          <c:cat>
            <c:numRef>
              <c:f>Sheet1!$A$2:$A$4</c:f>
              <c:numCache>
                <c:formatCode>m/d/yyyy</c:formatCode>
                <c:ptCount val="3"/>
                <c:pt idx="0">
                  <c:v>44964.333333333336</c:v>
                </c:pt>
                <c:pt idx="1">
                  <c:v>45055.291666666664</c:v>
                </c:pt>
                <c:pt idx="2">
                  <c:v>45167.34375</c:v>
                </c:pt>
              </c:numCache>
            </c:numRef>
          </c:cat>
          <c:val>
            <c:numRef>
              <c:f>Sheet1!$C$2:$C$4</c:f>
              <c:numCache>
                <c:formatCode>General</c:formatCode>
                <c:ptCount val="3"/>
                <c:pt idx="0">
                  <c:v>63</c:v>
                </c:pt>
                <c:pt idx="1">
                  <c:v>64</c:v>
                </c:pt>
                <c:pt idx="2">
                  <c:v>64</c:v>
                </c:pt>
              </c:numCache>
            </c:numRef>
          </c:val>
          <c:smooth val="0"/>
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<c:ext xmlns:c16="http://schemas.microsoft.com/office/drawing/2014/chart" uri="{C3380CC4-5D6E-409C-BE32-E72D297353CC}">
              <c16:uniqueId val="{00000001-5CBB-4D74-A389-E1754AE33BD1}"/>
            </c:ext>
          </c:extLst>
        </c:ser>
        <c:ser>
          <c:idx val="0"/>
          <c:order val="2"/>
          <c:tx>
            <c:strRef>
              <c:f>Sheet1!$C$1</c:f>
              <c:strCache>
                <c:ptCount val="1"/>
              </c:strCache>
            </c:strRef>
          </c:tx>
          <c:spPr>
            <a:ln w="19050" cap="rnd">
              <a:solidFill>
                <a:srgbClr val="4D4D4D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rgbClr val="FAFAFA"/>
              </a:solidFill>
              <a:ln w="19050">
                <a:solidFill>
                  <a:srgbClr val="4D4D4D"/>
                </a:solidFill>
              </a:ln>
              <a:effectLst/>
            </c:spPr>
          </c:marker>
          <c:cat>
            <c:numRef>
              <c:f>Sheet1!$A$2:$A$4</c:f>
              <c:numCache>
                <c:formatCode>m/d/yyyy</c:formatCode>
                <c:ptCount val="3"/>
                <c:pt idx="0">
                  <c:v>44964.333333333336</c:v>
                </c:pt>
                <c:pt idx="1">
                  <c:v>45055.291666666664</c:v>
                </c:pt>
                <c:pt idx="2">
                  <c:v>45167.34375</c:v>
                </c:pt>
              </c:numCache>
            </c:numRef>
          </c:cat>
          <c:val>
            <c:numRef>
              <c:f>Sheet1!$D$2:$D$4</c:f>
              <c:numCache>
                <c:formatCode>General</c:formatCode>
                <c:ptCount val="3"/>
                <c:pt idx="0">
                  <c:v>69</c:v>
                </c:pt>
                <c:pt idx="1">
                  <c:v>70</c:v>
                </c:pt>
                <c:pt idx="2">
                  <c:v>73</c:v>
                </c:pt>
              </c:numCache>
            </c:numRef>
          </c:val>
          <c:smooth val="0"/>
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<c:ext xmlns:c16="http://schemas.microsoft.com/office/drawing/2014/chart" uri="{C3380CC4-5D6E-409C-BE32-E72D297353CC}">
              <c16:uniqueId val="{00000002-5CBB-4D74-A389-E1754AE33BD1}"/>
            </c:ext>
          </c:extLst>
        </c:ser>
        <c:ser>
          <c:idx val="2"/>
          <c:order val="3"/>
          <c:tx>
            <c:strRef>
              <c:f>Sheet1!$D$1</c:f>
              <c:strCache>
                <c:ptCount val="1"/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10"/>
            <c:spPr>
              <a:solidFill>
                <a:srgbClr val="4A4A49"/>
              </a:solidFill>
              <a:ln w="25400">
                <a:solidFill>
                  <a:schemeClr val="bg1"/>
                </a:solidFill>
              </a:ln>
              <a:effectLst/>
            </c:spPr>
          </c:marker>
          <c:dLbls>
            <c:dLbl>
              <c:idx val="0"/>
              <c:spPr>
                <a:solidFill>
                  <a:srgbClr val="FFFFFF"/>
                </a:solidFill>
                <a:ln w="19050">
                  <a:solidFill>
                    <a:srgbClr val="4A4A49"/>
                  </a:solidFill>
                </a:ln>
                <a:effectLst/>
              </c:spPr>
              <c:txPr>
                <a:bodyPr rot="0" spcFirstLastPara="1" vertOverflow="overflow" horzOverflow="overflow" vert="horz" wrap="none" lIns="36000" tIns="36000" rIns="36000" bIns="36000" anchor="ctr" anchorCtr="1">
                  <a:spAutoFit/>
                </a:bodyPr>
                <a:lstStyle/>
                <a:p>
                  <a:pPr>
                    <a:defRPr sz="800" b="0" i="0" u="none" strike="noStrike" kern="1200" baseline="0" smtId="4294967295">
                      <a:solidFill>
                        <a:schemeClr val="tx1"/>
                      </a:solidFill>
                      <a:latin typeface="+mj-lt"/>
                      <a:ea typeface="+mn-ea"/>
                      <a:cs typeface="Calibri" panose="020F0502020204030204" pitchFamily="34" charset="0"/>
                    </a:defRPr>
                  </a:pPr>
                  <a:endParaRPr lang="sv-S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6="http://schemas.microsoft.com/office/drawing/2014/chart" uri="{C3380CC4-5D6E-409C-BE32-E72D297353CC}">
                  <c16:uniqueId val="{00000000-80CB-4FB9-8B9A-0A1538A993DA}"/>
                </c:ext>
              </c:extLst>
            </c:dLbl>
            <c:dLbl>
              <c:idx val="1"/>
              <c:spPr>
                <a:solidFill>
                  <a:srgbClr val="FFFFFF"/>
                </a:solidFill>
                <a:ln w="19050">
                  <a:solidFill>
                    <a:srgbClr val="4A4A49"/>
                  </a:solidFill>
                </a:ln>
                <a:effectLst/>
              </c:spPr>
              <c:txPr>
                <a:bodyPr rot="0" spcFirstLastPara="1" vertOverflow="overflow" horzOverflow="overflow" vert="horz" wrap="none" lIns="36000" tIns="36000" rIns="36000" bIns="36000" anchor="ctr" anchorCtr="1">
                  <a:spAutoFit/>
                </a:bodyPr>
                <a:lstStyle/>
                <a:p>
                  <a:pPr>
                    <a:defRPr sz="800" b="0" i="0" u="none" strike="noStrike" kern="1200" baseline="0" smtId="4294967295">
                      <a:solidFill>
                        <a:schemeClr val="tx1"/>
                      </a:solidFill>
                      <a:latin typeface="+mj-lt"/>
                      <a:ea typeface="+mn-ea"/>
                      <a:cs typeface="Calibri" panose="020F0502020204030204" pitchFamily="34" charset="0"/>
                    </a:defRPr>
                  </a:pPr>
                  <a:endParaRPr lang="sv-S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6="http://schemas.microsoft.com/office/drawing/2014/chart" uri="{C3380CC4-5D6E-409C-BE32-E72D297353CC}">
                  <c16:uniqueId val="{00000001-80CB-4FB9-8B9A-0A1538A993DA}"/>
                </c:ext>
              </c:extLst>
            </c:dLbl>
            <c:dLbl>
              <c:idx val="2"/>
              <c:spPr>
                <a:solidFill>
                  <a:srgbClr val="FFFFFF"/>
                </a:solidFill>
                <a:ln w="19050">
                  <a:solidFill>
                    <a:srgbClr val="4A4A49"/>
                  </a:solidFill>
                </a:ln>
                <a:effectLst/>
              </c:spPr>
              <c:txPr>
                <a:bodyPr rot="0" spcFirstLastPara="1" vertOverflow="overflow" horzOverflow="overflow" vert="horz" wrap="none" lIns="36000" tIns="36000" rIns="36000" bIns="36000" anchor="ctr" anchorCtr="1">
                  <a:spAutoFit/>
                </a:bodyPr>
                <a:lstStyle/>
                <a:p>
                  <a:pPr>
                    <a:defRPr sz="800" b="0" i="0" u="none" strike="noStrike" kern="1200" baseline="0" smtId="4294967295">
                      <a:solidFill>
                        <a:schemeClr val="tx1"/>
                      </a:solidFill>
                      <a:latin typeface="+mj-lt"/>
                      <a:ea typeface="+mn-ea"/>
                      <a:cs typeface="Calibri" panose="020F0502020204030204" pitchFamily="34" charset="0"/>
                    </a:defRPr>
                  </a:pPr>
                  <a:endParaRPr lang="sv-S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2-80CB-4FB9-8B9A-0A1538A993DA}"/>
                </c:ext>
              </c:extLst>
            </c:dLbl>
            <c:spPr>
              <a:solidFill>
                <a:srgbClr val="FFFFFF"/>
              </a:solidFill>
              <a:ln w="19050">
                <a:solidFill>
                  <a:srgbClr val="4A4A49"/>
                </a:solidFill>
              </a:ln>
              <a:effectLst/>
            </c:spPr>
            <c:txPr>
              <a:bodyPr rot="0" spcFirstLastPara="1" vertOverflow="overflow" horzOverflow="overflow" vert="horz" wrap="none" lIns="36000" tIns="36000" rIns="36000" bIns="36000" anchor="ctr" anchorCtr="1">
                <a:spAutoFit/>
              </a:bodyPr>
              <a:lstStyle/>
              <a:p>
                <a:pPr>
                  <a:defRPr sz="800" b="1" i="0" u="none" strike="noStrike" kern="1200" baseline="0" smtId="4294967295">
                    <a:solidFill>
                      <a:schemeClr val="tx1"/>
                    </a:solidFill>
                    <a:latin typeface="+mj-lt"/>
                    <a:ea typeface="+mn-ea"/>
                    <a:cs typeface="Calibri" panose="020F0502020204030204" pitchFamily="34" charset="0"/>
                  </a:defRPr>
                </a:pPr>
                <a:endParaRPr lang="sv-S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pPr xmlns:c15="http://schemas.microsoft.com/office/drawing/2012/chart">
                  <a:prstGeom prst="roundRec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numRef>
              <c:f>Sheet1!$A$2:$A$4</c:f>
              <c:numCache>
                <c:formatCode>m/d/yyyy</c:formatCode>
                <c:ptCount val="3"/>
                <c:pt idx="0">
                  <c:v>44964.333333333336</c:v>
                </c:pt>
                <c:pt idx="1">
                  <c:v>45055.291666666664</c:v>
                </c:pt>
                <c:pt idx="2">
                  <c:v>45167.34375</c:v>
                </c:pt>
              </c:numCache>
            </c:numRef>
          </c:cat>
          <c:val>
            <c:numRef>
              <c:f>Sheet1!$E$2:$E$4</c:f>
              <c:numCache>
                <c:formatCode>General</c:formatCode>
                <c:ptCount val="3"/>
                <c:pt idx="2" formatCode="##0">
                  <c:v>73</c:v>
                </c:pt>
              </c:numCache>
            </c:numRef>
          </c:val>
          <c:smooth val="1"/>
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<c:ext xmlns:c16="http://schemas.microsoft.com/office/drawing/2014/chart" uri="{C3380CC4-5D6E-409C-BE32-E72D297353CC}">
              <c16:uniqueId val="{00000004-5CBB-4D74-A389-E1754AE33B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99611007"/>
        <c:axId val="398601599"/>
      </c:lineChart>
      <c:dateAx>
        <c:axId val="399611007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ysClr val="window" lastClr="FFFFFF">
                  <a:lumMod val="85000"/>
                </a:sysClr>
              </a:solidFill>
              <a:round/>
            </a:ln>
            <a:effectLst/>
          </c:spPr>
        </c:majorGridlines>
        <c:numFmt formatCode="[$-41D]mmm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700" b="0" i="0" u="none" strike="noStrike" kern="1200" baseline="0" smtId="4294967295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pPr>
            <a:endParaRPr lang="sv-SE"/>
          </a:p>
        </c:txPr>
        <c:crossAx val="398601599"/>
        <c:crosses val="autoZero"/>
        <c:auto val="0"/>
        <c:lblOffset val="100"/>
        <c:baseTimeUnit val="days"/>
        <c:majorUnit val="1"/>
        <c:majorTimeUnit val="months"/>
        <c:minorUnit val="1"/>
        <c:minorTimeUnit val="months"/>
      </c:dateAx>
      <c:valAx>
        <c:axId val="398601599"/>
        <c:scaling>
          <c:orientation val="minMax"/>
          <c:max val="100"/>
          <c:min val="0"/>
        </c:scaling>
        <c:delete val="0"/>
        <c:axPos val="l"/>
        <c:majorGridlines>
          <c:spPr>
            <a:ln w="9525" cap="flat" cmpd="sng" algn="ctr">
              <a:solidFill>
                <a:sysClr val="window" lastClr="FFFFFF">
                  <a:lumMod val="85000"/>
                </a:sysClr>
              </a:solidFill>
              <a:round/>
            </a:ln>
            <a:effectLst/>
          </c:spPr>
        </c:majorGridlines>
        <c:numFmt formatCode="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 smtId="4294967295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pPr>
            <a:endParaRPr lang="sv-SE"/>
          </a:p>
        </c:txPr>
        <c:crossAx val="399611007"/>
        <c:crosses val="autoZero"/>
        <c:crossBetween val="midCat"/>
        <c:majorUnit val="25"/>
        <c:minorUnit val="10"/>
      </c:valAx>
      <c:spPr>
        <a:noFill/>
        <a:ln w="9525">
          <a:solidFill>
            <a:sysClr val="window" lastClr="FFFFFF">
              <a:lumMod val="85000"/>
            </a:sysClr>
          </a:solidFill>
        </a:ln>
        <a:effectLst/>
      </c:spPr>
    </c:plotArea>
    <c:plotVisOnly val="1"/>
    <c:dispBlanksAs val="span"/>
    <c:showDLblsOverMax val="0"/>
  </c:chart>
  <c:spPr>
    <a:noFill/>
    <a:ln>
      <a:noFill/>
    </a:ln>
    <a:effectLst/>
  </c:spPr>
  <c:txPr>
    <a:bodyPr/>
    <a:lstStyle/>
    <a:p>
      <a:pPr>
        <a:defRPr smtId="4294967295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4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6688682436943054"/>
          <c:y val="0"/>
          <c:w val="0.63311314582824707"/>
          <c:h val="1"/>
        </c:manualLayout>
      </c:layout>
      <c:barChart>
        <c:barDir val="bar"/>
        <c:grouping val="clustered"/>
        <c:varyColors val="0"/>
        <c:ser>
          <c:idx val="0"/>
          <c:order val="0"/>
          <c:invertIfNegative val="1"/>
          <c:dPt>
            <c:idx val="0"/>
            <c:invertIfNegative val="1"/>
            <c:bubble3D val="0"/>
            <c:spPr>
              <a:solidFill>
                <a:srgbClr val="83E7AF"/>
              </a:solidFill>
            </c:spPr>
            <c:extLst>
              <c:ext xmlns:c16="http://schemas.microsoft.com/office/drawing/2014/chart" uri="{C3380CC4-5D6E-409C-BE32-E72D297353CC}">
                <c16:uniqueId val="{00000001-7188-4A6B-A7E3-52000C3A0833}"/>
              </c:ext>
            </c:extLst>
          </c:dPt>
          <c:dPt>
            <c:idx val="1"/>
            <c:invertIfNegative val="1"/>
            <c:bubble3D val="0"/>
            <c:spPr>
              <a:solidFill>
                <a:srgbClr val="C1F2D6"/>
              </a:solidFill>
            </c:spPr>
            <c:extLst>
              <c:ext xmlns:c16="http://schemas.microsoft.com/office/drawing/2014/chart" uri="{C3380CC4-5D6E-409C-BE32-E72D297353CC}">
                <c16:uniqueId val="{00000003-7188-4A6B-A7E3-52000C3A0833}"/>
              </c:ext>
            </c:extLst>
          </c:dPt>
          <c:dPt>
            <c:idx val="2"/>
            <c:invertIfNegative val="1"/>
            <c:bubble3D val="0"/>
            <c:spPr>
              <a:solidFill>
                <a:srgbClr val="FECEC8"/>
              </a:solidFill>
            </c:spPr>
            <c:extLst>
              <c:ext xmlns:c16="http://schemas.microsoft.com/office/drawing/2014/chart" uri="{C3380CC4-5D6E-409C-BE32-E72D297353CC}">
                <c16:uniqueId val="{00000005-7188-4A6B-A7E3-52000C3A0833}"/>
              </c:ext>
            </c:extLst>
          </c:dPt>
          <c:dPt>
            <c:idx val="3"/>
            <c:invertIfNegative val="1"/>
            <c:bubble3D val="0"/>
            <c:spPr>
              <a:solidFill>
                <a:srgbClr val="FE9D93"/>
              </a:solidFill>
            </c:spPr>
            <c:extLst>
              <c:ext xmlns:c16="http://schemas.microsoft.com/office/drawing/2014/chart" uri="{C3380CC4-5D6E-409C-BE32-E72D297353CC}">
                <c16:uniqueId val="{00000007-7188-4A6B-A7E3-52000C3A0833}"/>
              </c:ext>
            </c:extLst>
          </c:dPt>
          <c:dPt>
            <c:idx val="4"/>
            <c:invertIfNegative val="1"/>
            <c:bubble3D val="0"/>
            <c:spPr>
              <a:solidFill>
                <a:srgbClr val="F6F6F6"/>
              </a:solidFill>
            </c:spPr>
            <c:extLst>
              <c:ext xmlns:c16="http://schemas.microsoft.com/office/drawing/2014/chart" uri="{C3380CC4-5D6E-409C-BE32-E72D297353CC}">
                <c16:uniqueId val="{00000009-7188-4A6B-A7E3-52000C3A0833}"/>
              </c:ext>
            </c:extLst>
          </c:dPt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FFFFFF"/>
                      </a:solidFill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7188-4A6B-A7E3-52000C3A0833}"/>
                </c:ext>
              </c:extLst>
            </c:dLbl>
            <c:dLbl>
              <c:idx val="1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7188-4A6B-A7E3-52000C3A0833}"/>
                </c:ext>
              </c:extLst>
            </c:dLbl>
            <c:dLbl>
              <c:idx val="2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7188-4A6B-A7E3-52000C3A0833}"/>
                </c:ext>
              </c:extLst>
            </c:dLbl>
            <c:dLbl>
              <c:idx val="3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FFFFFF"/>
                      </a:solidFill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7188-4A6B-A7E3-52000C3A083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Instämmer helt</c:v>
                </c:pt>
                <c:pt idx="1">
                  <c:v>Instämmer till stor del</c:v>
                </c:pt>
                <c:pt idx="2">
                  <c:v>Instämmer till viss del</c:v>
                </c:pt>
                <c:pt idx="3">
                  <c:v>Instämmer inte alls</c:v>
                </c:pt>
                <c:pt idx="4">
                  <c:v>Ingen åsikt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2</c:v>
                </c:pt>
                <c:pt idx="1">
                  <c:v>24</c:v>
                </c:pt>
                <c:pt idx="2">
                  <c:v>18</c:v>
                </c:pt>
                <c:pt idx="3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188-4A6B-A7E3-52000C3A08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overlap val="100"/>
        <c:axId val="356951184"/>
        <c:axId val="356953264"/>
      </c:barChart>
      <c:catAx>
        <c:axId val="35695118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ysClr val="window" lastClr="FFFFFF">
                <a:lumMod val="85000"/>
              </a:sys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 smtId="4294967295">
                <a:solidFill>
                  <a:schemeClr val="tx1"/>
                </a:solidFill>
                <a:latin typeface="+mj-lt"/>
                <a:ea typeface="Roboto" panose="02000000000000000000" pitchFamily="2" charset="0"/>
                <a:cs typeface="Calibri" panose="020F0502020204030204" pitchFamily="34" charset="0"/>
              </a:defRPr>
            </a:pPr>
            <a:endParaRPr lang="sv-SE"/>
          </a:p>
        </c:txPr>
        <c:crossAx val="356953264"/>
        <c:crosses val="autoZero"/>
        <c:auto val="0"/>
        <c:lblAlgn val="ctr"/>
        <c:lblOffset val="100"/>
        <c:noMultiLvlLbl val="0"/>
      </c:catAx>
      <c:valAx>
        <c:axId val="356953264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3569511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 smtId="4294967295"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2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2791486978530884E-2"/>
          <c:y val="8.2027964293956757E-2"/>
          <c:w val="0.87880504131317139"/>
          <c:h val="0.86696910858154297"/>
        </c:manualLayout>
      </c:layout>
      <c:areaChart>
        <c:grouping val="standard"/>
        <c:varyColors val="0"/>
        <c:ser>
          <c:idx val="1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rgbClr val="FFFFFF">
                <a:lumMod val="95000"/>
                <a:alpha val="50000"/>
              </a:srgbClr>
            </a:solidFill>
            <a:ln>
              <a:noFill/>
            </a:ln>
            <a:effectLst/>
          </c:spPr>
          <c:cat>
            <c:numRef>
              <c:f>Sheet1!$A$2:$A$4</c:f>
              <c:numCache>
                <c:formatCode>m/d/yyyy</c:formatCode>
                <c:ptCount val="3"/>
                <c:pt idx="0">
                  <c:v>44964.333333333336</c:v>
                </c:pt>
                <c:pt idx="1">
                  <c:v>45055.291666666664</c:v>
                </c:pt>
                <c:pt idx="2">
                  <c:v>45167.34375</c:v>
                </c:pt>
              </c:numCache>
            </c:numRef>
          </c:cat>
          <c:val>
            <c:numRef>
              <c:f>Sheet1!$B$2:$B$4</c:f>
              <c:numCache>
                <c:formatCode>General</c:formatCode>
                <c:ptCount val="3"/>
                <c:pt idx="0">
                  <c:v>56</c:v>
                </c:pt>
                <c:pt idx="1">
                  <c:v>57</c:v>
                </c:pt>
                <c:pt idx="2">
                  <c:v>55</c:v>
                </c:pt>
              </c:numCache>
            </c:numRef>
          </c:val>
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<c:ext xmlns:c16="http://schemas.microsoft.com/office/drawing/2014/chart" uri="{C3380CC4-5D6E-409C-BE32-E72D297353CC}">
              <c16:uniqueId val="{00000000-5CBB-4D74-A389-E1754AE33B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99611007"/>
        <c:axId val="398601599"/>
      </c:areaChart>
      <c:lineChart>
        <c:grouping val="standard"/>
        <c:varyColors val="0"/>
        <c:ser>
          <c:idx val="3"/>
          <c:order val="1"/>
          <c:tx>
            <c:strRef>
              <c:f>Sheet1!$E$1</c:f>
              <c:strCache>
                <c:ptCount val="1"/>
              </c:strCache>
            </c:strRef>
          </c:tx>
          <c:spPr>
            <a:ln w="19050" cap="rnd">
              <a:solidFill>
                <a:sysClr val="window" lastClr="FFFFFF">
                  <a:lumMod val="75000"/>
                </a:sysClr>
              </a:solidFill>
              <a:prstDash val="dash"/>
              <a:round/>
            </a:ln>
            <a:effectLst/>
          </c:spPr>
          <c:marker>
            <c:symbol val="circle"/>
            <c:size val="7"/>
            <c:spPr>
              <a:solidFill>
                <a:sysClr val="window" lastClr="FFFFFF"/>
              </a:solidFill>
              <a:ln w="19050">
                <a:solidFill>
                  <a:sysClr val="window" lastClr="FFFFFF">
                    <a:lumMod val="75000"/>
                  </a:sysClr>
                </a:solidFill>
              </a:ln>
              <a:effectLst/>
            </c:spPr>
          </c:marker>
          <c:cat>
            <c:numRef>
              <c:f>Sheet1!$A$2:$A$4</c:f>
              <c:numCache>
                <c:formatCode>m/d/yyyy</c:formatCode>
                <c:ptCount val="3"/>
                <c:pt idx="0">
                  <c:v>44964.333333333336</c:v>
                </c:pt>
                <c:pt idx="1">
                  <c:v>45055.291666666664</c:v>
                </c:pt>
                <c:pt idx="2">
                  <c:v>45167.34375</c:v>
                </c:pt>
              </c:numCache>
            </c:numRef>
          </c:cat>
          <c:val>
            <c:numRef>
              <c:f>Sheet1!$C$2:$C$4</c:f>
              <c:numCache>
                <c:formatCode>General</c:formatCode>
                <c:ptCount val="3"/>
                <c:pt idx="0">
                  <c:v>56</c:v>
                </c:pt>
                <c:pt idx="1">
                  <c:v>58</c:v>
                </c:pt>
                <c:pt idx="2">
                  <c:v>56</c:v>
                </c:pt>
              </c:numCache>
            </c:numRef>
          </c:val>
          <c:smooth val="0"/>
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<c:ext xmlns:c16="http://schemas.microsoft.com/office/drawing/2014/chart" uri="{C3380CC4-5D6E-409C-BE32-E72D297353CC}">
              <c16:uniqueId val="{00000001-5CBB-4D74-A389-E1754AE33BD1}"/>
            </c:ext>
          </c:extLst>
        </c:ser>
        <c:ser>
          <c:idx val="0"/>
          <c:order val="2"/>
          <c:tx>
            <c:strRef>
              <c:f>Sheet1!$C$1</c:f>
              <c:strCache>
                <c:ptCount val="1"/>
              </c:strCache>
            </c:strRef>
          </c:tx>
          <c:spPr>
            <a:ln w="19050" cap="rnd">
              <a:solidFill>
                <a:srgbClr val="4D4D4D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rgbClr val="FAFAFA"/>
              </a:solidFill>
              <a:ln w="19050">
                <a:solidFill>
                  <a:srgbClr val="4D4D4D"/>
                </a:solidFill>
              </a:ln>
              <a:effectLst/>
            </c:spPr>
          </c:marker>
          <c:cat>
            <c:numRef>
              <c:f>Sheet1!$A$2:$A$4</c:f>
              <c:numCache>
                <c:formatCode>m/d/yyyy</c:formatCode>
                <c:ptCount val="3"/>
                <c:pt idx="0">
                  <c:v>44964.333333333336</c:v>
                </c:pt>
                <c:pt idx="1">
                  <c:v>45055.291666666664</c:v>
                </c:pt>
                <c:pt idx="2">
                  <c:v>45167.34375</c:v>
                </c:pt>
              </c:numCache>
            </c:numRef>
          </c:cat>
          <c:val>
            <c:numRef>
              <c:f>Sheet1!$D$2:$D$4</c:f>
              <c:numCache>
                <c:formatCode>General</c:formatCode>
                <c:ptCount val="3"/>
                <c:pt idx="0">
                  <c:v>56</c:v>
                </c:pt>
                <c:pt idx="1">
                  <c:v>57</c:v>
                </c:pt>
                <c:pt idx="2">
                  <c:v>55</c:v>
                </c:pt>
              </c:numCache>
            </c:numRef>
          </c:val>
          <c:smooth val="0"/>
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<c:ext xmlns:c16="http://schemas.microsoft.com/office/drawing/2014/chart" uri="{C3380CC4-5D6E-409C-BE32-E72D297353CC}">
              <c16:uniqueId val="{00000002-5CBB-4D74-A389-E1754AE33BD1}"/>
            </c:ext>
          </c:extLst>
        </c:ser>
        <c:ser>
          <c:idx val="2"/>
          <c:order val="3"/>
          <c:tx>
            <c:strRef>
              <c:f>Sheet1!$D$1</c:f>
              <c:strCache>
                <c:ptCount val="1"/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10"/>
            <c:spPr>
              <a:solidFill>
                <a:srgbClr val="4A4A49"/>
              </a:solidFill>
              <a:ln w="25400">
                <a:solidFill>
                  <a:schemeClr val="bg1"/>
                </a:solidFill>
              </a:ln>
              <a:effectLst/>
            </c:spPr>
          </c:marker>
          <c:dLbls>
            <c:dLbl>
              <c:idx val="0"/>
              <c:spPr>
                <a:solidFill>
                  <a:srgbClr val="FFFFFF"/>
                </a:solidFill>
                <a:ln w="19050">
                  <a:solidFill>
                    <a:srgbClr val="4A4A49"/>
                  </a:solidFill>
                </a:ln>
                <a:effectLst/>
              </c:spPr>
              <c:txPr>
                <a:bodyPr rot="0" spcFirstLastPara="1" vertOverflow="overflow" horzOverflow="overflow" vert="horz" wrap="none" lIns="36000" tIns="36000" rIns="36000" bIns="36000" anchor="ctr" anchorCtr="1">
                  <a:spAutoFit/>
                </a:bodyPr>
                <a:lstStyle/>
                <a:p>
                  <a:pPr>
                    <a:defRPr sz="800" b="0" i="0" u="none" strike="noStrike" kern="1200" baseline="0" smtId="4294967295">
                      <a:solidFill>
                        <a:schemeClr val="tx1"/>
                      </a:solidFill>
                      <a:latin typeface="+mj-lt"/>
                      <a:ea typeface="+mn-ea"/>
                      <a:cs typeface="Calibri" panose="020F0502020204030204" pitchFamily="34" charset="0"/>
                    </a:defRPr>
                  </a:pPr>
                  <a:endParaRPr lang="sv-S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6="http://schemas.microsoft.com/office/drawing/2014/chart" uri="{C3380CC4-5D6E-409C-BE32-E72D297353CC}">
                  <c16:uniqueId val="{00000000-9BE2-4740-8011-49EDFDCB4948}"/>
                </c:ext>
              </c:extLst>
            </c:dLbl>
            <c:dLbl>
              <c:idx val="1"/>
              <c:spPr>
                <a:solidFill>
                  <a:srgbClr val="FFFFFF"/>
                </a:solidFill>
                <a:ln w="19050">
                  <a:solidFill>
                    <a:srgbClr val="4A4A49"/>
                  </a:solidFill>
                </a:ln>
                <a:effectLst/>
              </c:spPr>
              <c:txPr>
                <a:bodyPr rot="0" spcFirstLastPara="1" vertOverflow="overflow" horzOverflow="overflow" vert="horz" wrap="none" lIns="36000" tIns="36000" rIns="36000" bIns="36000" anchor="ctr" anchorCtr="1">
                  <a:spAutoFit/>
                </a:bodyPr>
                <a:lstStyle/>
                <a:p>
                  <a:pPr>
                    <a:defRPr sz="800" b="0" i="0" u="none" strike="noStrike" kern="1200" baseline="0" smtId="4294967295">
                      <a:solidFill>
                        <a:schemeClr val="tx1"/>
                      </a:solidFill>
                      <a:latin typeface="+mj-lt"/>
                      <a:ea typeface="+mn-ea"/>
                      <a:cs typeface="Calibri" panose="020F0502020204030204" pitchFamily="34" charset="0"/>
                    </a:defRPr>
                  </a:pPr>
                  <a:endParaRPr lang="sv-S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6="http://schemas.microsoft.com/office/drawing/2014/chart" uri="{C3380CC4-5D6E-409C-BE32-E72D297353CC}">
                  <c16:uniqueId val="{00000001-9BE2-4740-8011-49EDFDCB4948}"/>
                </c:ext>
              </c:extLst>
            </c:dLbl>
            <c:dLbl>
              <c:idx val="2"/>
              <c:spPr>
                <a:solidFill>
                  <a:srgbClr val="FFFFFF"/>
                </a:solidFill>
                <a:ln w="19050">
                  <a:solidFill>
                    <a:srgbClr val="4A4A49"/>
                  </a:solidFill>
                </a:ln>
                <a:effectLst/>
              </c:spPr>
              <c:txPr>
                <a:bodyPr rot="0" spcFirstLastPara="1" vertOverflow="overflow" horzOverflow="overflow" vert="horz" wrap="none" lIns="36000" tIns="36000" rIns="36000" bIns="36000" anchor="ctr" anchorCtr="1">
                  <a:spAutoFit/>
                </a:bodyPr>
                <a:lstStyle/>
                <a:p>
                  <a:pPr>
                    <a:defRPr sz="800" b="0" i="0" u="none" strike="noStrike" kern="1200" baseline="0" smtId="4294967295">
                      <a:solidFill>
                        <a:schemeClr val="tx1"/>
                      </a:solidFill>
                      <a:latin typeface="+mj-lt"/>
                      <a:ea typeface="+mn-ea"/>
                      <a:cs typeface="Calibri" panose="020F0502020204030204" pitchFamily="34" charset="0"/>
                    </a:defRPr>
                  </a:pPr>
                  <a:endParaRPr lang="sv-S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2-9BE2-4740-8011-49EDFDCB4948}"/>
                </c:ext>
              </c:extLst>
            </c:dLbl>
            <c:spPr>
              <a:solidFill>
                <a:srgbClr val="FFFFFF"/>
              </a:solidFill>
              <a:ln w="19050">
                <a:solidFill>
                  <a:srgbClr val="4A4A49"/>
                </a:solidFill>
              </a:ln>
              <a:effectLst/>
            </c:spPr>
            <c:txPr>
              <a:bodyPr rot="0" spcFirstLastPara="1" vertOverflow="overflow" horzOverflow="overflow" vert="horz" wrap="none" lIns="36000" tIns="36000" rIns="36000" bIns="36000" anchor="ctr" anchorCtr="1">
                <a:spAutoFit/>
              </a:bodyPr>
              <a:lstStyle/>
              <a:p>
                <a:pPr>
                  <a:defRPr sz="800" b="1" i="0" u="none" strike="noStrike" kern="1200" baseline="0" smtId="4294967295">
                    <a:solidFill>
                      <a:schemeClr val="tx1"/>
                    </a:solidFill>
                    <a:latin typeface="+mj-lt"/>
                    <a:ea typeface="+mn-ea"/>
                    <a:cs typeface="Calibri" panose="020F0502020204030204" pitchFamily="34" charset="0"/>
                  </a:defRPr>
                </a:pPr>
                <a:endParaRPr lang="sv-S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pPr xmlns:c15="http://schemas.microsoft.com/office/drawing/2012/chart">
                  <a:prstGeom prst="roundRec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numRef>
              <c:f>Sheet1!$A$2:$A$4</c:f>
              <c:numCache>
                <c:formatCode>m/d/yyyy</c:formatCode>
                <c:ptCount val="3"/>
                <c:pt idx="0">
                  <c:v>44964.333333333336</c:v>
                </c:pt>
                <c:pt idx="1">
                  <c:v>45055.291666666664</c:v>
                </c:pt>
                <c:pt idx="2">
                  <c:v>45167.34375</c:v>
                </c:pt>
              </c:numCache>
            </c:numRef>
          </c:cat>
          <c:val>
            <c:numRef>
              <c:f>Sheet1!$E$2:$E$4</c:f>
              <c:numCache>
                <c:formatCode>General</c:formatCode>
                <c:ptCount val="3"/>
                <c:pt idx="2" formatCode="##0">
                  <c:v>55</c:v>
                </c:pt>
              </c:numCache>
            </c:numRef>
          </c:val>
          <c:smooth val="1"/>
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<c:ext xmlns:c16="http://schemas.microsoft.com/office/drawing/2014/chart" uri="{C3380CC4-5D6E-409C-BE32-E72D297353CC}">
              <c16:uniqueId val="{00000004-5CBB-4D74-A389-E1754AE33B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99611007"/>
        <c:axId val="398601599"/>
      </c:lineChart>
      <c:dateAx>
        <c:axId val="399611007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ysClr val="window" lastClr="FFFFFF">
                  <a:lumMod val="85000"/>
                </a:sysClr>
              </a:solidFill>
              <a:round/>
            </a:ln>
            <a:effectLst/>
          </c:spPr>
        </c:majorGridlines>
        <c:numFmt formatCode="[$-41D]mmm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700" b="0" i="0" u="none" strike="noStrike" kern="1200" baseline="0" smtId="4294967295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pPr>
            <a:endParaRPr lang="sv-SE"/>
          </a:p>
        </c:txPr>
        <c:crossAx val="398601599"/>
        <c:crosses val="autoZero"/>
        <c:auto val="0"/>
        <c:lblOffset val="100"/>
        <c:baseTimeUnit val="days"/>
        <c:majorUnit val="1"/>
        <c:majorTimeUnit val="months"/>
        <c:minorUnit val="1"/>
        <c:minorTimeUnit val="months"/>
      </c:dateAx>
      <c:valAx>
        <c:axId val="398601599"/>
        <c:scaling>
          <c:orientation val="minMax"/>
          <c:max val="100"/>
          <c:min val="0"/>
        </c:scaling>
        <c:delete val="0"/>
        <c:axPos val="l"/>
        <c:majorGridlines>
          <c:spPr>
            <a:ln w="9525" cap="flat" cmpd="sng" algn="ctr">
              <a:solidFill>
                <a:sysClr val="window" lastClr="FFFFFF">
                  <a:lumMod val="85000"/>
                </a:sysClr>
              </a:solidFill>
              <a:round/>
            </a:ln>
            <a:effectLst/>
          </c:spPr>
        </c:majorGridlines>
        <c:numFmt formatCode="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 smtId="4294967295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pPr>
            <a:endParaRPr lang="sv-SE"/>
          </a:p>
        </c:txPr>
        <c:crossAx val="399611007"/>
        <c:crosses val="autoZero"/>
        <c:crossBetween val="midCat"/>
        <c:majorUnit val="25"/>
        <c:minorUnit val="10"/>
      </c:valAx>
      <c:spPr>
        <a:noFill/>
        <a:ln w="9525">
          <a:solidFill>
            <a:sysClr val="window" lastClr="FFFFFF">
              <a:lumMod val="85000"/>
            </a:sysClr>
          </a:solidFill>
        </a:ln>
        <a:effectLst/>
      </c:spPr>
    </c:plotArea>
    <c:plotVisOnly val="1"/>
    <c:dispBlanksAs val="span"/>
    <c:showDLblsOverMax val="0"/>
  </c:chart>
  <c:spPr>
    <a:noFill/>
    <a:ln>
      <a:noFill/>
    </a:ln>
    <a:effectLst/>
  </c:spPr>
  <c:txPr>
    <a:bodyPr/>
    <a:lstStyle/>
    <a:p>
      <a:pPr>
        <a:defRPr smtId="4294967295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F6F6F6"/>
            </a:solidFill>
          </c:spPr>
          <c:invertIfNegative val="1"/>
          <c:cat>
            <c:multiLvlStrRef>
              <c:f>Sheet1!$B$1</c:f>
            </c:multiLvlStrRef>
          </c:cat>
          <c:val>
            <c:numRef>
              <c:f>Sheet1!$B$2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1-ACEF-4E35-B0EE-B40652AD0F1B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rgbClr val="FE9D93"/>
            </a:solidFill>
          </c:spPr>
          <c:invertIfNegative val="1"/>
          <c:cat>
            <c:multiLvlStrRef>
              <c:f>Sheet1!$B$1</c:f>
            </c:multiLvlStrRef>
          </c:cat>
          <c:val>
            <c:numRef>
              <c:f>Sheet1!$C$3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3-ACEF-4E35-B0EE-B40652AD0F1B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FECEC8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ACEF-4E35-B0EE-B40652AD0F1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D$4</c:f>
              <c:numCache>
                <c:formatCode>General</c:formatCode>
                <c:ptCount val="1"/>
                <c:pt idx="0">
                  <c:v>16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5-ACEF-4E35-B0EE-B40652AD0F1B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</c:strCache>
            </c:strRef>
          </c:tx>
          <c:spPr>
            <a:solidFill>
              <a:srgbClr val="C1F2D6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ACEF-4E35-B0EE-B40652AD0F1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E$5</c:f>
              <c:numCache>
                <c:formatCode>General</c:formatCode>
                <c:ptCount val="1"/>
                <c:pt idx="0">
                  <c:v>25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7-ACEF-4E35-B0EE-B40652AD0F1B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</c:strCache>
            </c:strRef>
          </c:tx>
          <c:spPr>
            <a:solidFill>
              <a:srgbClr val="83E7AF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FFFFFF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ACEF-4E35-B0EE-B40652AD0F1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F$6</c:f>
              <c:numCache>
                <c:formatCode>General</c:formatCode>
                <c:ptCount val="1"/>
                <c:pt idx="0">
                  <c:v>20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9-ACEF-4E35-B0EE-B40652AD0F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460958063"/>
        <c:axId val="460963887"/>
      </c:barChart>
      <c:catAx>
        <c:axId val="460958063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60963887"/>
        <c:crosses val="autoZero"/>
        <c:auto val="0"/>
        <c:lblAlgn val="ctr"/>
        <c:lblOffset val="100"/>
        <c:noMultiLvlLbl val="0"/>
      </c:catAx>
      <c:valAx>
        <c:axId val="460963887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46095806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 sz="300" b="1" smtId="4294967295"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6688682436943054"/>
          <c:y val="0"/>
          <c:w val="0.63311314582824707"/>
          <c:h val="1"/>
        </c:manualLayout>
      </c:layout>
      <c:barChart>
        <c:barDir val="bar"/>
        <c:grouping val="clustered"/>
        <c:varyColors val="0"/>
        <c:ser>
          <c:idx val="0"/>
          <c:order val="0"/>
          <c:invertIfNegative val="1"/>
          <c:dPt>
            <c:idx val="0"/>
            <c:invertIfNegative val="1"/>
            <c:bubble3D val="0"/>
            <c:spPr>
              <a:solidFill>
                <a:srgbClr val="83E7AF"/>
              </a:solidFill>
            </c:spPr>
            <c:extLst>
              <c:ext xmlns:c16="http://schemas.microsoft.com/office/drawing/2014/chart" uri="{C3380CC4-5D6E-409C-BE32-E72D297353CC}">
                <c16:uniqueId val="{00000001-ABBB-4ABD-85B7-BC5139BEE9BF}"/>
              </c:ext>
            </c:extLst>
          </c:dPt>
          <c:dPt>
            <c:idx val="1"/>
            <c:invertIfNegative val="1"/>
            <c:bubble3D val="0"/>
            <c:spPr>
              <a:solidFill>
                <a:srgbClr val="C1F2D6"/>
              </a:solidFill>
            </c:spPr>
            <c:extLst>
              <c:ext xmlns:c16="http://schemas.microsoft.com/office/drawing/2014/chart" uri="{C3380CC4-5D6E-409C-BE32-E72D297353CC}">
                <c16:uniqueId val="{00000003-ABBB-4ABD-85B7-BC5139BEE9BF}"/>
              </c:ext>
            </c:extLst>
          </c:dPt>
          <c:dPt>
            <c:idx val="2"/>
            <c:invertIfNegative val="1"/>
            <c:bubble3D val="0"/>
            <c:spPr>
              <a:solidFill>
                <a:srgbClr val="FECEC8"/>
              </a:solidFill>
            </c:spPr>
            <c:extLst>
              <c:ext xmlns:c16="http://schemas.microsoft.com/office/drawing/2014/chart" uri="{C3380CC4-5D6E-409C-BE32-E72D297353CC}">
                <c16:uniqueId val="{00000005-ABBB-4ABD-85B7-BC5139BEE9BF}"/>
              </c:ext>
            </c:extLst>
          </c:dPt>
          <c:dPt>
            <c:idx val="3"/>
            <c:invertIfNegative val="1"/>
            <c:bubble3D val="0"/>
            <c:spPr>
              <a:solidFill>
                <a:srgbClr val="FE9D93"/>
              </a:solidFill>
            </c:spPr>
            <c:extLst>
              <c:ext xmlns:c16="http://schemas.microsoft.com/office/drawing/2014/chart" uri="{C3380CC4-5D6E-409C-BE32-E72D297353CC}">
                <c16:uniqueId val="{00000007-ABBB-4ABD-85B7-BC5139BEE9BF}"/>
              </c:ext>
            </c:extLst>
          </c:dPt>
          <c:dPt>
            <c:idx val="4"/>
            <c:invertIfNegative val="1"/>
            <c:bubble3D val="0"/>
            <c:spPr>
              <a:solidFill>
                <a:srgbClr val="F6F6F6"/>
              </a:solidFill>
            </c:spPr>
            <c:extLst>
              <c:ext xmlns:c16="http://schemas.microsoft.com/office/drawing/2014/chart" uri="{C3380CC4-5D6E-409C-BE32-E72D297353CC}">
                <c16:uniqueId val="{00000009-ABBB-4ABD-85B7-BC5139BEE9BF}"/>
              </c:ext>
            </c:extLst>
          </c:dPt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FFFFFF"/>
                      </a:solidFill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ABBB-4ABD-85B7-BC5139BEE9BF}"/>
                </c:ext>
              </c:extLst>
            </c:dLbl>
            <c:dLbl>
              <c:idx val="1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ABBB-4ABD-85B7-BC5139BEE9BF}"/>
                </c:ext>
              </c:extLst>
            </c:dLbl>
            <c:dLbl>
              <c:idx val="2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ABBB-4ABD-85B7-BC5139BEE9B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Instämmer helt</c:v>
                </c:pt>
                <c:pt idx="1">
                  <c:v>Instämmer till stor del</c:v>
                </c:pt>
                <c:pt idx="2">
                  <c:v>Instämmer till viss del</c:v>
                </c:pt>
                <c:pt idx="3">
                  <c:v>Instämmer inte alls</c:v>
                </c:pt>
                <c:pt idx="4">
                  <c:v>Ingen åsikt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7</c:v>
                </c:pt>
                <c:pt idx="1">
                  <c:v>26</c:v>
                </c:pt>
                <c:pt idx="2">
                  <c:v>8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BBB-4ABD-85B7-BC5139BEE9B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overlap val="100"/>
        <c:axId val="356951184"/>
        <c:axId val="356953264"/>
      </c:barChart>
      <c:catAx>
        <c:axId val="35695118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ysClr val="window" lastClr="FFFFFF">
                <a:lumMod val="85000"/>
              </a:sys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 smtId="4294967295">
                <a:solidFill>
                  <a:schemeClr val="tx1"/>
                </a:solidFill>
                <a:latin typeface="+mj-lt"/>
                <a:ea typeface="Roboto" panose="02000000000000000000" pitchFamily="2" charset="0"/>
                <a:cs typeface="Calibri" panose="020F0502020204030204" pitchFamily="34" charset="0"/>
              </a:defRPr>
            </a:pPr>
            <a:endParaRPr lang="sv-SE"/>
          </a:p>
        </c:txPr>
        <c:crossAx val="356953264"/>
        <c:crosses val="autoZero"/>
        <c:auto val="0"/>
        <c:lblAlgn val="ctr"/>
        <c:lblOffset val="100"/>
        <c:noMultiLvlLbl val="0"/>
      </c:catAx>
      <c:valAx>
        <c:axId val="356953264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3569511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 smtId="4294967295"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2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2791486978530884E-2"/>
          <c:y val="8.2027964293956757E-2"/>
          <c:w val="0.87880504131317139"/>
          <c:h val="0.86696910858154297"/>
        </c:manualLayout>
      </c:layout>
      <c:areaChart>
        <c:grouping val="standard"/>
        <c:varyColors val="0"/>
        <c:ser>
          <c:idx val="1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rgbClr val="FFFFFF">
                <a:lumMod val="95000"/>
                <a:alpha val="50000"/>
              </a:srgbClr>
            </a:solidFill>
            <a:ln>
              <a:noFill/>
            </a:ln>
            <a:effectLst/>
          </c:spPr>
          <c:cat>
            <c:numRef>
              <c:f>Sheet1!$A$2</c:f>
              <c:numCache>
                <c:formatCode>m/d/yyyy</c:formatCode>
                <c:ptCount val="1"/>
                <c:pt idx="0">
                  <c:v>45167.34375</c:v>
                </c:pt>
              </c:numCache>
            </c:numRef>
          </c:cat>
          <c:val>
            <c:numRef>
              <c:f>Sheet1!$B$2</c:f>
              <c:numCache>
                <c:formatCode>General</c:formatCode>
                <c:ptCount val="1"/>
                <c:pt idx="0">
                  <c:v>77</c:v>
                </c:pt>
              </c:numCache>
            </c:numRef>
          </c:val>
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<c:ext xmlns:c16="http://schemas.microsoft.com/office/drawing/2014/chart" uri="{C3380CC4-5D6E-409C-BE32-E72D297353CC}">
              <c16:uniqueId val="{00000000-5CBB-4D74-A389-E1754AE33B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99611007"/>
        <c:axId val="398601599"/>
      </c:areaChart>
      <c:lineChart>
        <c:grouping val="standard"/>
        <c:varyColors val="0"/>
        <c:ser>
          <c:idx val="3"/>
          <c:order val="1"/>
          <c:tx>
            <c:strRef>
              <c:f>Sheet1!$E$1</c:f>
              <c:strCache>
                <c:ptCount val="1"/>
              </c:strCache>
            </c:strRef>
          </c:tx>
          <c:spPr>
            <a:ln w="19050" cap="rnd">
              <a:solidFill>
                <a:sysClr val="window" lastClr="FFFFFF">
                  <a:lumMod val="75000"/>
                </a:sysClr>
              </a:solidFill>
              <a:prstDash val="dash"/>
              <a:round/>
            </a:ln>
            <a:effectLst/>
          </c:spPr>
          <c:marker>
            <c:symbol val="circle"/>
            <c:size val="7"/>
            <c:spPr>
              <a:solidFill>
                <a:sysClr val="window" lastClr="FFFFFF"/>
              </a:solidFill>
              <a:ln w="19050">
                <a:solidFill>
                  <a:sysClr val="window" lastClr="FFFFFF">
                    <a:lumMod val="75000"/>
                  </a:sysClr>
                </a:solidFill>
              </a:ln>
              <a:effectLst/>
            </c:spPr>
          </c:marker>
          <c:cat>
            <c:numRef>
              <c:f>Sheet1!$A$2</c:f>
              <c:numCache>
                <c:formatCode>m/d/yyyy</c:formatCode>
                <c:ptCount val="1"/>
                <c:pt idx="0">
                  <c:v>45167.34375</c:v>
                </c:pt>
              </c:numCache>
            </c:numRef>
          </c:cat>
          <c:val>
            <c:numRef>
              <c:f>Sheet1!$C$2</c:f>
              <c:numCache>
                <c:formatCode>General</c:formatCode>
                <c:ptCount val="1"/>
                <c:pt idx="0">
                  <c:v>75</c:v>
                </c:pt>
              </c:numCache>
            </c:numRef>
          </c:val>
          <c:smooth val="0"/>
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<c:ext xmlns:c16="http://schemas.microsoft.com/office/drawing/2014/chart" uri="{C3380CC4-5D6E-409C-BE32-E72D297353CC}">
              <c16:uniqueId val="{00000001-5CBB-4D74-A389-E1754AE33BD1}"/>
            </c:ext>
          </c:extLst>
        </c:ser>
        <c:ser>
          <c:idx val="0"/>
          <c:order val="2"/>
          <c:tx>
            <c:strRef>
              <c:f>Sheet1!$C$1</c:f>
              <c:strCache>
                <c:ptCount val="1"/>
              </c:strCache>
            </c:strRef>
          </c:tx>
          <c:spPr>
            <a:ln w="19050" cap="rnd">
              <a:solidFill>
                <a:srgbClr val="4D4D4D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rgbClr val="FAFAFA"/>
              </a:solidFill>
              <a:ln w="19050">
                <a:solidFill>
                  <a:srgbClr val="4D4D4D"/>
                </a:solidFill>
              </a:ln>
              <a:effectLst/>
            </c:spPr>
          </c:marker>
          <c:cat>
            <c:numRef>
              <c:f>Sheet1!$A$2</c:f>
              <c:numCache>
                <c:formatCode>m/d/yyyy</c:formatCode>
                <c:ptCount val="1"/>
                <c:pt idx="0">
                  <c:v>45167.34375</c:v>
                </c:pt>
              </c:numCache>
            </c:numRef>
          </c:cat>
          <c:val>
            <c:numRef>
              <c:f>Sheet1!$D$2</c:f>
              <c:numCache>
                <c:formatCode>General</c:formatCode>
                <c:ptCount val="1"/>
                <c:pt idx="0">
                  <c:v>77</c:v>
                </c:pt>
              </c:numCache>
            </c:numRef>
          </c:val>
          <c:smooth val="0"/>
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<c:ext xmlns:c16="http://schemas.microsoft.com/office/drawing/2014/chart" uri="{C3380CC4-5D6E-409C-BE32-E72D297353CC}">
              <c16:uniqueId val="{00000002-5CBB-4D74-A389-E1754AE33BD1}"/>
            </c:ext>
          </c:extLst>
        </c:ser>
        <c:ser>
          <c:idx val="2"/>
          <c:order val="3"/>
          <c:tx>
            <c:strRef>
              <c:f>Sheet1!$D$1</c:f>
              <c:strCache>
                <c:ptCount val="1"/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10"/>
            <c:spPr>
              <a:solidFill>
                <a:srgbClr val="4A4A49"/>
              </a:solidFill>
              <a:ln w="25400">
                <a:solidFill>
                  <a:schemeClr val="bg1"/>
                </a:solidFill>
              </a:ln>
              <a:effectLst/>
            </c:spPr>
          </c:marker>
          <c:dLbls>
            <c:dLbl>
              <c:idx val="0"/>
              <c:spPr>
                <a:solidFill>
                  <a:srgbClr val="FFFFFF"/>
                </a:solidFill>
                <a:ln w="19050">
                  <a:solidFill>
                    <a:srgbClr val="4A4A49"/>
                  </a:solidFill>
                </a:ln>
                <a:effectLst/>
              </c:spPr>
              <c:txPr>
                <a:bodyPr rot="0" spcFirstLastPara="1" vertOverflow="overflow" horzOverflow="overflow" vert="horz" wrap="none" lIns="36000" tIns="36000" rIns="36000" bIns="36000" anchor="ctr" anchorCtr="1">
                  <a:spAutoFit/>
                </a:bodyPr>
                <a:lstStyle/>
                <a:p>
                  <a:pPr>
                    <a:defRPr sz="800" b="0" i="0" u="none" strike="noStrike" kern="1200" baseline="0" smtId="4294967295">
                      <a:solidFill>
                        <a:schemeClr val="tx1"/>
                      </a:solidFill>
                      <a:latin typeface="+mj-lt"/>
                      <a:ea typeface="+mn-ea"/>
                      <a:cs typeface="Calibri" panose="020F0502020204030204" pitchFamily="34" charset="0"/>
                    </a:defRPr>
                  </a:pPr>
                  <a:endParaRPr lang="sv-S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0-E49B-445F-A188-C54EA4444FC2}"/>
                </c:ext>
              </c:extLst>
            </c:dLbl>
            <c:spPr>
              <a:solidFill>
                <a:srgbClr val="FFFFFF"/>
              </a:solidFill>
              <a:ln w="19050">
                <a:solidFill>
                  <a:srgbClr val="4A4A49"/>
                </a:solidFill>
              </a:ln>
              <a:effectLst/>
            </c:spPr>
            <c:txPr>
              <a:bodyPr rot="0" spcFirstLastPara="1" vertOverflow="overflow" horzOverflow="overflow" vert="horz" wrap="none" lIns="36000" tIns="36000" rIns="36000" bIns="36000" anchor="ctr" anchorCtr="1">
                <a:spAutoFit/>
              </a:bodyPr>
              <a:lstStyle/>
              <a:p>
                <a:pPr>
                  <a:defRPr sz="800" b="1" i="0" u="none" strike="noStrike" kern="1200" baseline="0" smtId="4294967295">
                    <a:solidFill>
                      <a:schemeClr val="tx1"/>
                    </a:solidFill>
                    <a:latin typeface="+mj-lt"/>
                    <a:ea typeface="+mn-ea"/>
                    <a:cs typeface="Calibri" panose="020F0502020204030204" pitchFamily="34" charset="0"/>
                  </a:defRPr>
                </a:pPr>
                <a:endParaRPr lang="sv-S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pPr xmlns:c15="http://schemas.microsoft.com/office/drawing/2012/chart">
                  <a:prstGeom prst="roundRec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numRef>
              <c:f>Sheet1!$A$2</c:f>
              <c:numCache>
                <c:formatCode>m/d/yyyy</c:formatCode>
                <c:ptCount val="1"/>
                <c:pt idx="0">
                  <c:v>45167.34375</c:v>
                </c:pt>
              </c:numCache>
            </c:numRef>
          </c:cat>
          <c:val>
            <c:numRef>
              <c:f>Sheet1!$E$2</c:f>
              <c:numCache>
                <c:formatCode>##0</c:formatCode>
                <c:ptCount val="1"/>
                <c:pt idx="0">
                  <c:v>77</c:v>
                </c:pt>
              </c:numCache>
            </c:numRef>
          </c:val>
          <c:smooth val="1"/>
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<c:ext xmlns:c16="http://schemas.microsoft.com/office/drawing/2014/chart" uri="{C3380CC4-5D6E-409C-BE32-E72D297353CC}">
              <c16:uniqueId val="{00000004-5CBB-4D74-A389-E1754AE33B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99611007"/>
        <c:axId val="398601599"/>
      </c:lineChart>
      <c:dateAx>
        <c:axId val="399611007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ysClr val="window" lastClr="FFFFFF">
                  <a:lumMod val="85000"/>
                </a:sysClr>
              </a:solidFill>
              <a:round/>
            </a:ln>
            <a:effectLst/>
          </c:spPr>
        </c:majorGridlines>
        <c:numFmt formatCode="[$-41D]mmm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700" b="0" i="0" u="none" strike="noStrike" kern="1200" baseline="0" smtId="4294967295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pPr>
            <a:endParaRPr lang="sv-SE"/>
          </a:p>
        </c:txPr>
        <c:crossAx val="398601599"/>
        <c:crosses val="autoZero"/>
        <c:auto val="0"/>
        <c:lblOffset val="100"/>
        <c:baseTimeUnit val="days"/>
        <c:majorUnit val="1"/>
        <c:majorTimeUnit val="months"/>
        <c:minorUnit val="1"/>
        <c:minorTimeUnit val="months"/>
      </c:dateAx>
      <c:valAx>
        <c:axId val="398601599"/>
        <c:scaling>
          <c:orientation val="minMax"/>
          <c:max val="100"/>
          <c:min val="0"/>
        </c:scaling>
        <c:delete val="0"/>
        <c:axPos val="l"/>
        <c:majorGridlines>
          <c:spPr>
            <a:ln w="9525" cap="flat" cmpd="sng" algn="ctr">
              <a:solidFill>
                <a:sysClr val="window" lastClr="FFFFFF">
                  <a:lumMod val="85000"/>
                </a:sysClr>
              </a:solidFill>
              <a:round/>
            </a:ln>
            <a:effectLst/>
          </c:spPr>
        </c:majorGridlines>
        <c:numFmt formatCode="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 smtId="4294967295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pPr>
            <a:endParaRPr lang="sv-SE"/>
          </a:p>
        </c:txPr>
        <c:crossAx val="399611007"/>
        <c:crosses val="autoZero"/>
        <c:crossBetween val="midCat"/>
        <c:majorUnit val="25"/>
        <c:minorUnit val="10"/>
      </c:valAx>
      <c:spPr>
        <a:noFill/>
        <a:ln w="9525">
          <a:solidFill>
            <a:sysClr val="window" lastClr="FFFFFF">
              <a:lumMod val="85000"/>
            </a:sysClr>
          </a:solidFill>
        </a:ln>
        <a:effectLst/>
      </c:spPr>
    </c:plotArea>
    <c:plotVisOnly val="1"/>
    <c:dispBlanksAs val="span"/>
    <c:showDLblsOverMax val="0"/>
  </c:chart>
  <c:spPr>
    <a:noFill/>
    <a:ln>
      <a:noFill/>
    </a:ln>
    <a:effectLst/>
  </c:spPr>
  <c:txPr>
    <a:bodyPr/>
    <a:lstStyle/>
    <a:p>
      <a:pPr>
        <a:defRPr smtId="4294967295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4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6688682436943054"/>
          <c:y val="0"/>
          <c:w val="0.63311314582824707"/>
          <c:h val="1"/>
        </c:manualLayout>
      </c:layout>
      <c:barChart>
        <c:barDir val="bar"/>
        <c:grouping val="clustered"/>
        <c:varyColors val="0"/>
        <c:ser>
          <c:idx val="0"/>
          <c:order val="0"/>
          <c:invertIfNegative val="1"/>
          <c:dPt>
            <c:idx val="0"/>
            <c:invertIfNegative val="1"/>
            <c:bubble3D val="0"/>
            <c:spPr>
              <a:solidFill>
                <a:srgbClr val="83E7AF"/>
              </a:solidFill>
            </c:spPr>
            <c:extLst>
              <c:ext xmlns:c16="http://schemas.microsoft.com/office/drawing/2014/chart" uri="{C3380CC4-5D6E-409C-BE32-E72D297353CC}">
                <c16:uniqueId val="{00000001-9DFA-4EF1-B681-8644F473E441}"/>
              </c:ext>
            </c:extLst>
          </c:dPt>
          <c:dPt>
            <c:idx val="1"/>
            <c:invertIfNegative val="1"/>
            <c:bubble3D val="0"/>
            <c:spPr>
              <a:solidFill>
                <a:srgbClr val="C1F2D6"/>
              </a:solidFill>
            </c:spPr>
            <c:extLst>
              <c:ext xmlns:c16="http://schemas.microsoft.com/office/drawing/2014/chart" uri="{C3380CC4-5D6E-409C-BE32-E72D297353CC}">
                <c16:uniqueId val="{00000003-9DFA-4EF1-B681-8644F473E441}"/>
              </c:ext>
            </c:extLst>
          </c:dPt>
          <c:dPt>
            <c:idx val="2"/>
            <c:invertIfNegative val="1"/>
            <c:bubble3D val="0"/>
            <c:spPr>
              <a:solidFill>
                <a:srgbClr val="FECEC8"/>
              </a:solidFill>
            </c:spPr>
            <c:extLst>
              <c:ext xmlns:c16="http://schemas.microsoft.com/office/drawing/2014/chart" uri="{C3380CC4-5D6E-409C-BE32-E72D297353CC}">
                <c16:uniqueId val="{00000005-9DFA-4EF1-B681-8644F473E441}"/>
              </c:ext>
            </c:extLst>
          </c:dPt>
          <c:dPt>
            <c:idx val="3"/>
            <c:invertIfNegative val="1"/>
            <c:bubble3D val="0"/>
            <c:spPr>
              <a:solidFill>
                <a:srgbClr val="FE9D93"/>
              </a:solidFill>
            </c:spPr>
            <c:extLst>
              <c:ext xmlns:c16="http://schemas.microsoft.com/office/drawing/2014/chart" uri="{C3380CC4-5D6E-409C-BE32-E72D297353CC}">
                <c16:uniqueId val="{00000007-9DFA-4EF1-B681-8644F473E441}"/>
              </c:ext>
            </c:extLst>
          </c:dPt>
          <c:dPt>
            <c:idx val="4"/>
            <c:invertIfNegative val="1"/>
            <c:bubble3D val="0"/>
            <c:spPr>
              <a:solidFill>
                <a:srgbClr val="F6F6F6"/>
              </a:solidFill>
            </c:spPr>
            <c:extLst>
              <c:ext xmlns:c16="http://schemas.microsoft.com/office/drawing/2014/chart" uri="{C3380CC4-5D6E-409C-BE32-E72D297353CC}">
                <c16:uniqueId val="{00000009-9DFA-4EF1-B681-8644F473E441}"/>
              </c:ext>
            </c:extLst>
          </c:dPt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FFFFFF"/>
                      </a:solidFill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9DFA-4EF1-B681-8644F473E441}"/>
                </c:ext>
              </c:extLst>
            </c:dLbl>
            <c:dLbl>
              <c:idx val="1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9DFA-4EF1-B681-8644F473E441}"/>
                </c:ext>
              </c:extLst>
            </c:dLbl>
            <c:dLbl>
              <c:idx val="2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9DFA-4EF1-B681-8644F473E441}"/>
                </c:ext>
              </c:extLst>
            </c:dLbl>
            <c:dLbl>
              <c:idx val="3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FFFFFF"/>
                      </a:solidFill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9DFA-4EF1-B681-8644F473E441}"/>
                </c:ext>
              </c:extLst>
            </c:dLbl>
            <c:dLbl>
              <c:idx val="4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9-9DFA-4EF1-B681-8644F473E44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Instämmer helt</c:v>
                </c:pt>
                <c:pt idx="1">
                  <c:v>Instämmer till stor del</c:v>
                </c:pt>
                <c:pt idx="2">
                  <c:v>Instämmer till viss del</c:v>
                </c:pt>
                <c:pt idx="3">
                  <c:v>Instämmer inte alls</c:v>
                </c:pt>
                <c:pt idx="4">
                  <c:v>Vet ej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0</c:v>
                </c:pt>
                <c:pt idx="1">
                  <c:v>3</c:v>
                </c:pt>
                <c:pt idx="2">
                  <c:v>4</c:v>
                </c:pt>
                <c:pt idx="3">
                  <c:v>24</c:v>
                </c:pt>
                <c:pt idx="4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DFA-4EF1-B681-8644F473E4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overlap val="100"/>
        <c:axId val="356951184"/>
        <c:axId val="356953264"/>
      </c:barChart>
      <c:catAx>
        <c:axId val="35695118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ysClr val="window" lastClr="FFFFFF">
                <a:lumMod val="85000"/>
              </a:sys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 smtId="4294967295">
                <a:solidFill>
                  <a:schemeClr val="tx1"/>
                </a:solidFill>
                <a:latin typeface="+mj-lt"/>
                <a:ea typeface="Roboto" panose="02000000000000000000" pitchFamily="2" charset="0"/>
                <a:cs typeface="Calibri" panose="020F0502020204030204" pitchFamily="34" charset="0"/>
              </a:defRPr>
            </a:pPr>
            <a:endParaRPr lang="sv-SE"/>
          </a:p>
        </c:txPr>
        <c:crossAx val="356953264"/>
        <c:crosses val="autoZero"/>
        <c:auto val="0"/>
        <c:lblAlgn val="ctr"/>
        <c:lblOffset val="100"/>
        <c:noMultiLvlLbl val="0"/>
      </c:catAx>
      <c:valAx>
        <c:axId val="356953264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3569511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 smtId="4294967295"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2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2791486978530884E-2"/>
          <c:y val="8.2027964293956757E-2"/>
          <c:w val="0.87880504131317139"/>
          <c:h val="0.86696910858154297"/>
        </c:manualLayout>
      </c:layout>
      <c:areaChart>
        <c:grouping val="standard"/>
        <c:varyColors val="0"/>
        <c:ser>
          <c:idx val="1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rgbClr val="FFFFFF">
                <a:lumMod val="95000"/>
                <a:alpha val="50000"/>
              </a:srgbClr>
            </a:solidFill>
            <a:ln>
              <a:noFill/>
            </a:ln>
            <a:effectLst/>
          </c:spPr>
          <c:cat>
            <c:numRef>
              <c:f>Sheet1!$A$2</c:f>
              <c:numCache>
                <c:formatCode>m/d/yyyy</c:formatCode>
                <c:ptCount val="1"/>
                <c:pt idx="0">
                  <c:v>45167.34375</c:v>
                </c:pt>
              </c:numCache>
            </c:numRef>
          </c:cat>
          <c:val>
            <c:numRef>
              <c:f>Sheet1!$B$2</c:f>
              <c:numCache>
                <c:formatCode>General</c:formatCode>
                <c:ptCount val="1"/>
                <c:pt idx="0">
                  <c:v>33</c:v>
                </c:pt>
              </c:numCache>
            </c:numRef>
          </c:val>
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<c:ext xmlns:c16="http://schemas.microsoft.com/office/drawing/2014/chart" uri="{C3380CC4-5D6E-409C-BE32-E72D297353CC}">
              <c16:uniqueId val="{00000000-5CBB-4D74-A389-E1754AE33B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99611007"/>
        <c:axId val="398601599"/>
      </c:areaChart>
      <c:lineChart>
        <c:grouping val="standard"/>
        <c:varyColors val="0"/>
        <c:ser>
          <c:idx val="3"/>
          <c:order val="1"/>
          <c:tx>
            <c:strRef>
              <c:f>Sheet1!$E$1</c:f>
              <c:strCache>
                <c:ptCount val="1"/>
              </c:strCache>
            </c:strRef>
          </c:tx>
          <c:spPr>
            <a:ln w="19050" cap="rnd">
              <a:solidFill>
                <a:sysClr val="window" lastClr="FFFFFF">
                  <a:lumMod val="75000"/>
                </a:sysClr>
              </a:solidFill>
              <a:prstDash val="dash"/>
              <a:round/>
            </a:ln>
            <a:effectLst/>
          </c:spPr>
          <c:marker>
            <c:symbol val="circle"/>
            <c:size val="7"/>
            <c:spPr>
              <a:solidFill>
                <a:sysClr val="window" lastClr="FFFFFF"/>
              </a:solidFill>
              <a:ln w="19050">
                <a:solidFill>
                  <a:sysClr val="window" lastClr="FFFFFF">
                    <a:lumMod val="75000"/>
                  </a:sysClr>
                </a:solidFill>
              </a:ln>
              <a:effectLst/>
            </c:spPr>
          </c:marker>
          <c:cat>
            <c:numRef>
              <c:f>Sheet1!$A$2</c:f>
              <c:numCache>
                <c:formatCode>m/d/yyyy</c:formatCode>
                <c:ptCount val="1"/>
                <c:pt idx="0">
                  <c:v>45167.34375</c:v>
                </c:pt>
              </c:numCache>
            </c:numRef>
          </c:cat>
          <c:val>
            <c:numRef>
              <c:f>Sheet1!$C$2</c:f>
              <c:numCache>
                <c:formatCode>General</c:formatCode>
                <c:ptCount val="1"/>
                <c:pt idx="0">
                  <c:v>45</c:v>
                </c:pt>
              </c:numCache>
            </c:numRef>
          </c:val>
          <c:smooth val="0"/>
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<c:ext xmlns:c16="http://schemas.microsoft.com/office/drawing/2014/chart" uri="{C3380CC4-5D6E-409C-BE32-E72D297353CC}">
              <c16:uniqueId val="{00000001-5CBB-4D74-A389-E1754AE33BD1}"/>
            </c:ext>
          </c:extLst>
        </c:ser>
        <c:ser>
          <c:idx val="0"/>
          <c:order val="2"/>
          <c:tx>
            <c:strRef>
              <c:f>Sheet1!$C$1</c:f>
              <c:strCache>
                <c:ptCount val="1"/>
              </c:strCache>
            </c:strRef>
          </c:tx>
          <c:spPr>
            <a:ln w="19050" cap="rnd">
              <a:solidFill>
                <a:srgbClr val="4D4D4D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rgbClr val="FAFAFA"/>
              </a:solidFill>
              <a:ln w="19050">
                <a:solidFill>
                  <a:srgbClr val="4D4D4D"/>
                </a:solidFill>
              </a:ln>
              <a:effectLst/>
            </c:spPr>
          </c:marker>
          <c:cat>
            <c:numRef>
              <c:f>Sheet1!$A$2</c:f>
              <c:numCache>
                <c:formatCode>m/d/yyyy</c:formatCode>
                <c:ptCount val="1"/>
                <c:pt idx="0">
                  <c:v>45167.34375</c:v>
                </c:pt>
              </c:numCache>
            </c:numRef>
          </c:cat>
          <c:val>
            <c:numRef>
              <c:f>Sheet1!$D$2</c:f>
              <c:numCache>
                <c:formatCode>General</c:formatCode>
                <c:ptCount val="1"/>
                <c:pt idx="0">
                  <c:v>33</c:v>
                </c:pt>
              </c:numCache>
            </c:numRef>
          </c:val>
          <c:smooth val="0"/>
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<c:ext xmlns:c16="http://schemas.microsoft.com/office/drawing/2014/chart" uri="{C3380CC4-5D6E-409C-BE32-E72D297353CC}">
              <c16:uniqueId val="{00000002-5CBB-4D74-A389-E1754AE33BD1}"/>
            </c:ext>
          </c:extLst>
        </c:ser>
        <c:ser>
          <c:idx val="2"/>
          <c:order val="3"/>
          <c:tx>
            <c:strRef>
              <c:f>Sheet1!$D$1</c:f>
              <c:strCache>
                <c:ptCount val="1"/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10"/>
            <c:spPr>
              <a:solidFill>
                <a:srgbClr val="4A4A49"/>
              </a:solidFill>
              <a:ln w="25400">
                <a:solidFill>
                  <a:schemeClr val="bg1"/>
                </a:solidFill>
              </a:ln>
              <a:effectLst/>
            </c:spPr>
          </c:marker>
          <c:dLbls>
            <c:dLbl>
              <c:idx val="0"/>
              <c:spPr>
                <a:solidFill>
                  <a:srgbClr val="FFFFFF"/>
                </a:solidFill>
                <a:ln w="19050">
                  <a:solidFill>
                    <a:srgbClr val="4A4A49"/>
                  </a:solidFill>
                </a:ln>
                <a:effectLst/>
              </c:spPr>
              <c:txPr>
                <a:bodyPr rot="0" spcFirstLastPara="1" vertOverflow="overflow" horzOverflow="overflow" vert="horz" wrap="none" lIns="36000" tIns="36000" rIns="36000" bIns="36000" anchor="ctr" anchorCtr="1">
                  <a:spAutoFit/>
                </a:bodyPr>
                <a:lstStyle/>
                <a:p>
                  <a:pPr>
                    <a:defRPr sz="800" b="0" i="0" u="none" strike="noStrike" kern="1200" baseline="0" smtId="4294967295">
                      <a:solidFill>
                        <a:schemeClr val="tx1"/>
                      </a:solidFill>
                      <a:latin typeface="+mj-lt"/>
                      <a:ea typeface="+mn-ea"/>
                      <a:cs typeface="Calibri" panose="020F0502020204030204" pitchFamily="34" charset="0"/>
                    </a:defRPr>
                  </a:pPr>
                  <a:endParaRPr lang="sv-S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0-413F-4979-A4DA-DD8109145C41}"/>
                </c:ext>
              </c:extLst>
            </c:dLbl>
            <c:spPr>
              <a:solidFill>
                <a:srgbClr val="FFFFFF"/>
              </a:solidFill>
              <a:ln w="19050">
                <a:solidFill>
                  <a:srgbClr val="4A4A49"/>
                </a:solidFill>
              </a:ln>
              <a:effectLst/>
            </c:spPr>
            <c:txPr>
              <a:bodyPr rot="0" spcFirstLastPara="1" vertOverflow="overflow" horzOverflow="overflow" vert="horz" wrap="none" lIns="36000" tIns="36000" rIns="36000" bIns="36000" anchor="ctr" anchorCtr="1">
                <a:spAutoFit/>
              </a:bodyPr>
              <a:lstStyle/>
              <a:p>
                <a:pPr>
                  <a:defRPr sz="800" b="1" i="0" u="none" strike="noStrike" kern="1200" baseline="0" smtId="4294967295">
                    <a:solidFill>
                      <a:schemeClr val="tx1"/>
                    </a:solidFill>
                    <a:latin typeface="+mj-lt"/>
                    <a:ea typeface="+mn-ea"/>
                    <a:cs typeface="Calibri" panose="020F0502020204030204" pitchFamily="34" charset="0"/>
                  </a:defRPr>
                </a:pPr>
                <a:endParaRPr lang="sv-S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pPr xmlns:c15="http://schemas.microsoft.com/office/drawing/2012/chart">
                  <a:prstGeom prst="roundRec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numRef>
              <c:f>Sheet1!$A$2</c:f>
              <c:numCache>
                <c:formatCode>m/d/yyyy</c:formatCode>
                <c:ptCount val="1"/>
                <c:pt idx="0">
                  <c:v>45167.34375</c:v>
                </c:pt>
              </c:numCache>
            </c:numRef>
          </c:cat>
          <c:val>
            <c:numRef>
              <c:f>Sheet1!$E$2</c:f>
              <c:numCache>
                <c:formatCode>##0</c:formatCode>
                <c:ptCount val="1"/>
                <c:pt idx="0">
                  <c:v>33</c:v>
                </c:pt>
              </c:numCache>
            </c:numRef>
          </c:val>
          <c:smooth val="1"/>
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<c:ext xmlns:c16="http://schemas.microsoft.com/office/drawing/2014/chart" uri="{C3380CC4-5D6E-409C-BE32-E72D297353CC}">
              <c16:uniqueId val="{00000004-5CBB-4D74-A389-E1754AE33B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99611007"/>
        <c:axId val="398601599"/>
      </c:lineChart>
      <c:dateAx>
        <c:axId val="399611007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ysClr val="window" lastClr="FFFFFF">
                  <a:lumMod val="85000"/>
                </a:sysClr>
              </a:solidFill>
              <a:round/>
            </a:ln>
            <a:effectLst/>
          </c:spPr>
        </c:majorGridlines>
        <c:numFmt formatCode="[$-41D]mmm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700" b="0" i="0" u="none" strike="noStrike" kern="1200" baseline="0" smtId="4294967295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pPr>
            <a:endParaRPr lang="sv-SE"/>
          </a:p>
        </c:txPr>
        <c:crossAx val="398601599"/>
        <c:crosses val="autoZero"/>
        <c:auto val="0"/>
        <c:lblOffset val="100"/>
        <c:baseTimeUnit val="days"/>
        <c:majorUnit val="1"/>
        <c:majorTimeUnit val="months"/>
        <c:minorUnit val="1"/>
        <c:minorTimeUnit val="months"/>
      </c:dateAx>
      <c:valAx>
        <c:axId val="398601599"/>
        <c:scaling>
          <c:orientation val="minMax"/>
          <c:max val="100"/>
          <c:min val="0"/>
        </c:scaling>
        <c:delete val="0"/>
        <c:axPos val="l"/>
        <c:majorGridlines>
          <c:spPr>
            <a:ln w="9525" cap="flat" cmpd="sng" algn="ctr">
              <a:solidFill>
                <a:sysClr val="window" lastClr="FFFFFF">
                  <a:lumMod val="85000"/>
                </a:sysClr>
              </a:solidFill>
              <a:round/>
            </a:ln>
            <a:effectLst/>
          </c:spPr>
        </c:majorGridlines>
        <c:numFmt formatCode="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 smtId="4294967295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pPr>
            <a:endParaRPr lang="sv-SE"/>
          </a:p>
        </c:txPr>
        <c:crossAx val="399611007"/>
        <c:crosses val="autoZero"/>
        <c:crossBetween val="midCat"/>
        <c:majorUnit val="25"/>
        <c:minorUnit val="10"/>
      </c:valAx>
      <c:spPr>
        <a:noFill/>
        <a:ln w="9525">
          <a:solidFill>
            <a:sysClr val="window" lastClr="FFFFFF">
              <a:lumMod val="85000"/>
            </a:sysClr>
          </a:solidFill>
        </a:ln>
        <a:effectLst/>
      </c:spPr>
    </c:plotArea>
    <c:plotVisOnly val="1"/>
    <c:dispBlanksAs val="span"/>
    <c:showDLblsOverMax val="0"/>
  </c:chart>
  <c:spPr>
    <a:noFill/>
    <a:ln>
      <a:noFill/>
    </a:ln>
    <a:effectLst/>
  </c:spPr>
  <c:txPr>
    <a:bodyPr/>
    <a:lstStyle/>
    <a:p>
      <a:pPr>
        <a:defRPr smtId="4294967295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F6F6F6"/>
            </a:solidFill>
          </c:spPr>
          <c:invertIfNegative val="1"/>
          <c:cat>
            <c:multiLvlStrRef>
              <c:f>Sheet1!$B$1</c:f>
            </c:multiLvlStrRef>
          </c:cat>
          <c:val>
            <c:numRef>
              <c:f>Sheet1!$B$2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1-2CEC-4547-9CEC-BE1D00050106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rgbClr val="FE9D93"/>
            </a:solidFill>
          </c:spPr>
          <c:invertIfNegative val="1"/>
          <c:cat>
            <c:multiLvlStrRef>
              <c:f>Sheet1!$B$1</c:f>
            </c:multiLvlStrRef>
          </c:cat>
          <c:val>
            <c:numRef>
              <c:f>Sheet1!$C$3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3-2CEC-4547-9CEC-BE1D00050106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FECEC8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2CEC-4547-9CEC-BE1D0005010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D$4</c:f>
              <c:numCache>
                <c:formatCode>General</c:formatCode>
                <c:ptCount val="1"/>
                <c:pt idx="0">
                  <c:v>13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5-2CEC-4547-9CEC-BE1D00050106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</c:strCache>
            </c:strRef>
          </c:tx>
          <c:spPr>
            <a:solidFill>
              <a:srgbClr val="C1F2D6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2CEC-4547-9CEC-BE1D0005010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E$5</c:f>
              <c:numCache>
                <c:formatCode>General</c:formatCode>
                <c:ptCount val="1"/>
                <c:pt idx="0">
                  <c:v>24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7-2CEC-4547-9CEC-BE1D00050106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</c:strCache>
            </c:strRef>
          </c:tx>
          <c:spPr>
            <a:solidFill>
              <a:srgbClr val="83E7AF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FFFFFF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2CEC-4547-9CEC-BE1D0005010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F$6</c:f>
              <c:numCache>
                <c:formatCode>General</c:formatCode>
                <c:ptCount val="1"/>
                <c:pt idx="0">
                  <c:v>24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9-2CEC-4547-9CEC-BE1D000501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460958063"/>
        <c:axId val="460963887"/>
      </c:barChart>
      <c:catAx>
        <c:axId val="460958063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60963887"/>
        <c:crosses val="autoZero"/>
        <c:auto val="0"/>
        <c:lblAlgn val="ctr"/>
        <c:lblOffset val="100"/>
        <c:noMultiLvlLbl val="0"/>
      </c:catAx>
      <c:valAx>
        <c:axId val="460963887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46095806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 sz="300" b="1" smtId="4294967295"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F6F6F6"/>
            </a:solidFill>
          </c:spPr>
          <c:invertIfNegative val="1"/>
          <c:cat>
            <c:multiLvlStrRef>
              <c:f>Sheet1!$B$1</c:f>
            </c:multiLvlStrRef>
          </c:cat>
          <c:val>
            <c:numRef>
              <c:f>Sheet1!$B$2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1-8D33-4A5E-8242-F02E04B55104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rgbClr val="FE9D93"/>
            </a:solidFill>
          </c:spPr>
          <c:invertIfNegative val="1"/>
          <c:cat>
            <c:multiLvlStrRef>
              <c:f>Sheet1!$B$1</c:f>
            </c:multiLvlStrRef>
          </c:cat>
          <c:val>
            <c:numRef>
              <c:f>Sheet1!$C$3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3-8D33-4A5E-8242-F02E04B55104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FECEC8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8D33-4A5E-8242-F02E04B5510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D$4</c:f>
              <c:numCache>
                <c:formatCode>General</c:formatCode>
                <c:ptCount val="1"/>
                <c:pt idx="0">
                  <c:v>6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5-8D33-4A5E-8242-F02E04B55104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</c:strCache>
            </c:strRef>
          </c:tx>
          <c:spPr>
            <a:solidFill>
              <a:srgbClr val="C1F2D6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8D33-4A5E-8242-F02E04B5510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E$5</c:f>
              <c:numCache>
                <c:formatCode>General</c:formatCode>
                <c:ptCount val="1"/>
                <c:pt idx="0">
                  <c:v>23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7-8D33-4A5E-8242-F02E04B55104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</c:strCache>
            </c:strRef>
          </c:tx>
          <c:spPr>
            <a:solidFill>
              <a:srgbClr val="83E7AF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FFFFFF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8D33-4A5E-8242-F02E04B5510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F$6</c:f>
              <c:numCache>
                <c:formatCode>General</c:formatCode>
                <c:ptCount val="1"/>
                <c:pt idx="0">
                  <c:v>33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9-8D33-4A5E-8242-F02E04B551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460958063"/>
        <c:axId val="460963887"/>
      </c:barChart>
      <c:catAx>
        <c:axId val="460958063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60963887"/>
        <c:crosses val="autoZero"/>
        <c:auto val="0"/>
        <c:lblAlgn val="ctr"/>
        <c:lblOffset val="100"/>
        <c:noMultiLvlLbl val="0"/>
      </c:catAx>
      <c:valAx>
        <c:axId val="460963887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46095806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 sz="300" b="1" smtId="4294967295"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F6F6F6"/>
            </a:solidFill>
          </c:spPr>
          <c:invertIfNegative val="1"/>
          <c:cat>
            <c:multiLvlStrRef>
              <c:f>Sheet1!$B$1</c:f>
            </c:multiLvlStrRef>
          </c:cat>
          <c:val>
            <c:numRef>
              <c:f>Sheet1!$B$2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1-5530-4775-B457-DC1F3BE2AF52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rgbClr val="FE9D93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FFFFFF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5530-4775-B457-DC1F3BE2AF5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C$3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3-5530-4775-B457-DC1F3BE2AF52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FECEC8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5530-4775-B457-DC1F3BE2AF5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D$4</c:f>
              <c:numCache>
                <c:formatCode>General</c:formatCode>
                <c:ptCount val="1"/>
                <c:pt idx="0">
                  <c:v>15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5-5530-4775-B457-DC1F3BE2AF52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</c:strCache>
            </c:strRef>
          </c:tx>
          <c:spPr>
            <a:solidFill>
              <a:srgbClr val="C1F2D6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5530-4775-B457-DC1F3BE2AF5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E$5</c:f>
              <c:numCache>
                <c:formatCode>General</c:formatCode>
                <c:ptCount val="1"/>
                <c:pt idx="0">
                  <c:v>33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7-5530-4775-B457-DC1F3BE2AF52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</c:strCache>
            </c:strRef>
          </c:tx>
          <c:spPr>
            <a:solidFill>
              <a:srgbClr val="83E7AF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FFFFFF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5530-4775-B457-DC1F3BE2AF5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F$6</c:f>
              <c:numCache>
                <c:formatCode>General</c:formatCode>
                <c:ptCount val="1"/>
                <c:pt idx="0">
                  <c:v>11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9-5530-4775-B457-DC1F3BE2AF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460958063"/>
        <c:axId val="460963887"/>
      </c:barChart>
      <c:catAx>
        <c:axId val="460958063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60963887"/>
        <c:crosses val="autoZero"/>
        <c:auto val="0"/>
        <c:lblAlgn val="ctr"/>
        <c:lblOffset val="100"/>
        <c:noMultiLvlLbl val="0"/>
      </c:catAx>
      <c:valAx>
        <c:axId val="460963887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46095806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 sz="300" b="1" smtId="4294967295"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F6F6F6"/>
            </a:solidFill>
          </c:spPr>
          <c:invertIfNegative val="1"/>
          <c:cat>
            <c:multiLvlStrRef>
              <c:f>Sheet1!$B$1</c:f>
            </c:multiLvlStrRef>
          </c:cat>
          <c:val>
            <c:numRef>
              <c:f>Sheet1!$B$2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1-C3FF-46FC-9481-4CC1FD809741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rgbClr val="FE9D93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FFFFFF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C3FF-46FC-9481-4CC1FD80974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C$3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3-C3FF-46FC-9481-4CC1FD809741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FECEC8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C3FF-46FC-9481-4CC1FD80974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D$4</c:f>
              <c:numCache>
                <c:formatCode>General</c:formatCode>
                <c:ptCount val="1"/>
                <c:pt idx="0">
                  <c:v>10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5-C3FF-46FC-9481-4CC1FD809741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</c:strCache>
            </c:strRef>
          </c:tx>
          <c:spPr>
            <a:solidFill>
              <a:srgbClr val="C1F2D6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C3FF-46FC-9481-4CC1FD80974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E$5</c:f>
              <c:numCache>
                <c:formatCode>General</c:formatCode>
                <c:ptCount val="1"/>
                <c:pt idx="0">
                  <c:v>25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7-C3FF-46FC-9481-4CC1FD809741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</c:strCache>
            </c:strRef>
          </c:tx>
          <c:spPr>
            <a:solidFill>
              <a:srgbClr val="83E7AF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FFFFFF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C3FF-46FC-9481-4CC1FD80974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F$6</c:f>
              <c:numCache>
                <c:formatCode>General</c:formatCode>
                <c:ptCount val="1"/>
                <c:pt idx="0">
                  <c:v>25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9-C3FF-46FC-9481-4CC1FD8097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460958063"/>
        <c:axId val="460963887"/>
      </c:barChart>
      <c:catAx>
        <c:axId val="460958063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60963887"/>
        <c:crosses val="autoZero"/>
        <c:auto val="0"/>
        <c:lblAlgn val="ctr"/>
        <c:lblOffset val="100"/>
        <c:noMultiLvlLbl val="0"/>
      </c:catAx>
      <c:valAx>
        <c:axId val="460963887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46095806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 sz="300" b="1" smtId="4294967295"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F6F6F6"/>
            </a:solidFill>
          </c:spPr>
          <c:invertIfNegative val="1"/>
          <c:cat>
            <c:multiLvlStrRef>
              <c:f>Sheet1!$B$1</c:f>
            </c:multiLvlStrRef>
          </c:cat>
          <c:val>
            <c:numRef>
              <c:f>Sheet1!$B$2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1-1294-4C97-B360-75A5CC199865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rgbClr val="FE9D93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FFFFFF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1294-4C97-B360-75A5CC19986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C$3</c:f>
              <c:numCache>
                <c:formatCode>General</c:formatCode>
                <c:ptCount val="1"/>
                <c:pt idx="0">
                  <c:v>8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3-1294-4C97-B360-75A5CC199865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FECEC8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1294-4C97-B360-75A5CC19986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D$4</c:f>
              <c:numCache>
                <c:formatCode>General</c:formatCode>
                <c:ptCount val="1"/>
                <c:pt idx="0">
                  <c:v>18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5-1294-4C97-B360-75A5CC199865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</c:strCache>
            </c:strRef>
          </c:tx>
          <c:spPr>
            <a:solidFill>
              <a:srgbClr val="C1F2D6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1294-4C97-B360-75A5CC19986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E$5</c:f>
              <c:numCache>
                <c:formatCode>General</c:formatCode>
                <c:ptCount val="1"/>
                <c:pt idx="0">
                  <c:v>24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7-1294-4C97-B360-75A5CC199865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</c:strCache>
            </c:strRef>
          </c:tx>
          <c:spPr>
            <a:solidFill>
              <a:srgbClr val="83E7AF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FFFFFF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1294-4C97-B360-75A5CC19986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F$6</c:f>
              <c:numCache>
                <c:formatCode>General</c:formatCode>
                <c:ptCount val="1"/>
                <c:pt idx="0">
                  <c:v>12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9-1294-4C97-B360-75A5CC1998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460958063"/>
        <c:axId val="460963887"/>
      </c:barChart>
      <c:catAx>
        <c:axId val="460958063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60963887"/>
        <c:crosses val="autoZero"/>
        <c:auto val="0"/>
        <c:lblAlgn val="ctr"/>
        <c:lblOffset val="100"/>
        <c:noMultiLvlLbl val="0"/>
      </c:catAx>
      <c:valAx>
        <c:axId val="460963887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46095806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 sz="300" b="1" smtId="4294967295"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F6F6F6"/>
            </a:solidFill>
          </c:spPr>
          <c:invertIfNegative val="1"/>
          <c:cat>
            <c:multiLvlStrRef>
              <c:f>Sheet1!$B$1</c:f>
            </c:multiLvlStrRef>
          </c:cat>
          <c:val>
            <c:numRef>
              <c:f>Sheet1!$B$2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1-3602-4CF9-8A0C-6CF748D1F0C8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rgbClr val="FE9D93"/>
            </a:solidFill>
          </c:spPr>
          <c:invertIfNegative val="1"/>
          <c:cat>
            <c:multiLvlStrRef>
              <c:f>Sheet1!$B$1</c:f>
            </c:multiLvlStrRef>
          </c:cat>
          <c:val>
            <c:numRef>
              <c:f>Sheet1!$C$3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3-3602-4CF9-8A0C-6CF748D1F0C8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FECEC8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3602-4CF9-8A0C-6CF748D1F0C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D$4</c:f>
              <c:numCache>
                <c:formatCode>General</c:formatCode>
                <c:ptCount val="1"/>
                <c:pt idx="0">
                  <c:v>13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5-3602-4CF9-8A0C-6CF748D1F0C8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</c:strCache>
            </c:strRef>
          </c:tx>
          <c:spPr>
            <a:solidFill>
              <a:srgbClr val="C1F2D6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4E5758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3602-4CF9-8A0C-6CF748D1F0C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E$5</c:f>
              <c:numCache>
                <c:formatCode>General</c:formatCode>
                <c:ptCount val="1"/>
                <c:pt idx="0">
                  <c:v>21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7-3602-4CF9-8A0C-6CF748D1F0C8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</c:strCache>
            </c:strRef>
          </c:tx>
          <c:spPr>
            <a:solidFill>
              <a:srgbClr val="83E7AF"/>
            </a:solidFill>
          </c:spPr>
          <c:invertIfNegative val="1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b="1" smtId="4294967295">
                      <a:solidFill>
                        <a:srgbClr val="FFFFFF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3602-4CF9-8A0C-6CF748D1F0C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heet1!$B$1</c:f>
            </c:multiLvlStrRef>
          </c:cat>
          <c:val>
            <c:numRef>
              <c:f>Sheet1!$F$6</c:f>
              <c:numCache>
                <c:formatCode>General</c:formatCode>
                <c:ptCount val="1"/>
                <c:pt idx="0">
                  <c:v>28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9-3602-4CF9-8A0C-6CF748D1F0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460958063"/>
        <c:axId val="460963887"/>
      </c:barChart>
      <c:catAx>
        <c:axId val="460958063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60963887"/>
        <c:crosses val="autoZero"/>
        <c:auto val="0"/>
        <c:lblAlgn val="ctr"/>
        <c:lblOffset val="100"/>
        <c:noMultiLvlLbl val="0"/>
      </c:catAx>
      <c:valAx>
        <c:axId val="460963887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46095806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 sz="300" b="1" smtId="4294967295"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  <a:effectLst/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  <a:effectLst/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  <a:effectLst/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  <a:effectLst/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  <a:effectLst/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  <a:effectLst/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  <a:effectLst/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  <a:effectLst/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  <a:effectLst/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  <a:effectLst/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  <a:effectLst/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  <a:effectLst/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  <a:effectLst/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  <a:effectLst/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  <a:effectLst/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  <a:effectLst/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  <a:effectLst/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  <a:effectLst/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  <a:effectLst/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  <a:effectLst/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  <a:effectLst/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  <a:effectLst/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  <a:effectLst/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  <a:effectLst/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  <a:effectLst/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  <a:effectLst/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  <a:effectLst/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  <a:effectLst/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  <a:effectLst/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  <a:effectLst/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  <a:effectLst/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  <a:effectLst/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  <a:effectLst/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  <a:effectLst/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  <a:effectLst/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  <a:effectLst/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  <a:effectLst/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  <a:effectLst/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  <a:effectLst/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  <a:effectLst/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  <a:effectLst/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  <a:effectLst/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  <a:effectLst/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  <a:effectLst/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  <a:effectLst/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  <a:effectLst/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  <a:effectLst/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  <a:effectLst/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  <a:effectLst/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  <a:effectLst/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  <a:effectLst/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  <a:effectLst/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  <a:effectLst/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  <a:effectLst/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  <a:effectLst/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  <a:effectLst/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  <a:effectLst/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  <a:effectLst/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  <a:effectLst/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  <a:effectLst/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  <a:effectLst/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  <a:effectLst/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  <a:effectLst/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  <a:effectLst/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  <a:effectLst/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  <a:effectLst/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  <a:effectLst/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  <a:effectLst/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  <a:effectLst/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  <a:effectLst/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  <a:effectLst/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  <a:effectLst/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  <a:effectLst/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  <a:effectLst/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  <a:effectLst/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  <a:effectLst/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  <a:effectLst/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  <a:effectLst/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  <a:effectLst/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  <a:effectLst/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  <a:effectLst/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  <a:effectLst/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  <a:effectLst/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  <a:effectLst/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  <a:effectLst/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  <a:effectLst/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  <a:effectLst/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  <a:effectLst/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  <a:effectLst/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  <a:effectLst/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  <a:effectLst/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  <a:effectLst/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  <a:effectLst/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  <a:effectLst/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  <a:effectLst/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  <a:effectLst/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  <a:effectLst/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  <a:effectLst/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  <a:effectLst/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  <a:effectLst/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  <a:effectLst/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  <a:effectLst/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  <a:effectLst/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  <a:effectLst/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  <a:effectLst/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  <a:effectLst/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  <a:effectLst/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  <a:effectLst/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  <a:effectLst/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  <a:effectLst/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  <a:effectLst/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  <a:effectLst/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  <a:effectLst/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  <a:effectLst/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>
            <a:extLst>
              <a:ext uri="{FF2B5EF4-FFF2-40B4-BE49-F238E27FC236}">
                <a16:creationId xmlns:a16="http://schemas.microsoft.com/office/drawing/2014/main" id="{960A68EE-FC1D-154D-B0B2-8F10538CA1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24D638D7-DEA4-1247-A9EB-8982C7537D0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97DA80DE-4E61-4222-B8A1-40B9C5A2CE86}" type="datetime1">
              <a:rPr lang="sv-SE" smtClean="0"/>
              <a:t>2023-09-12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BD4AEC7E-9E0A-F348-8BEB-360ABEA8525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6838CD8-B67A-DE4B-9D64-CF9FD9C9A62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D3538062-B7CA-4502-88E7-928089303C7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>
            <a:extLst>
              <a:ext uri="{FF2B5EF4-FFF2-40B4-BE49-F238E27FC236}">
                <a16:creationId xmlns:a16="http://schemas.microsoft.com/office/drawing/2014/main" id="{253AAA87-6F70-2F43-9A3C-FA3D36237EF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65F49FED-13B4-B74A-AF1E-0B5D3706DE11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B2BE67F1-57DD-4FC9-A37A-F611488FE141}" type="datetime1">
              <a:rPr lang="sv-SE" smtClean="0"/>
              <a:t>2023-09-12</a:t>
            </a:fld>
            <a:endParaRPr lang="sv-SE"/>
          </a:p>
        </p:txBody>
      </p:sp>
      <p:sp>
        <p:nvSpPr>
          <p:cNvPr id="4" name="Platshållare för bildobjekt 3">
            <a:extLst>
              <a:ext uri="{FF2B5EF4-FFF2-40B4-BE49-F238E27FC236}">
                <a16:creationId xmlns:a16="http://schemas.microsoft.com/office/drawing/2014/main" id="{4730BF3B-6153-7140-AD57-ECE26CA8AB1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sv-SE" noProof="0"/>
          </a:p>
        </p:txBody>
      </p:sp>
      <p:sp>
        <p:nvSpPr>
          <p:cNvPr id="5" name="Platshållare för anteckningar 4">
            <a:extLst>
              <a:ext uri="{FF2B5EF4-FFF2-40B4-BE49-F238E27FC236}">
                <a16:creationId xmlns:a16="http://schemas.microsoft.com/office/drawing/2014/main" id="{5D978D40-EB87-4440-802D-12F96A066E2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noProof="0"/>
              <a:t>Klicka här för att ändra format på bakgrundstexten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EA429AAB-B1EE-6F47-B4D7-E30F7E497A5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CE43AB95-16A5-8F4F-9927-6A8C0839FD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EE811775-299A-4959-BF5A-5DFB3E75F6AC}" type="slidenum">
              <a:rPr lang="sv-SE"/>
              <a:pPr>
                <a:defRPr/>
              </a:pPr>
              <a:t>‹#›</a:t>
            </a:fld>
            <a:endParaRPr lang="sv-S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baseline="0" dirty="0" smtClean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03770D-2C53-4454-95C6-004BF118CDC6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182278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B2BE67F1-57DD-4FC9-A37A-F611488FE141}" type="datetime1">
              <a:rPr lang="sv-SE" smtClean="0"/>
              <a:t>2023-09-12</a:t>
            </a:fld>
            <a:endParaRPr lang="sv-S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E811775-299A-4959-BF5A-5DFB3E75F6AC}" type="slidenum">
              <a:rPr lang="sv-SE" smtClean="0"/>
              <a:pPr>
                <a:defRPr/>
              </a:pPr>
              <a:t>4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09415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669341B-1A2C-DA44-A3A3-D767F2EB35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27FB4B-7893-4946-9C41-FB1EB79145A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A813F90-7654-6648-91D1-2FCEDF32CC5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4BAE7C-21D9-AE42-BA7B-857539329EF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F661A77-9BDA-439B-8E05-14E876FA37DF}" type="datetime1">
              <a:rPr lang="sv-SE" smtClean="0"/>
              <a:t>2023-09-12</a:t>
            </a:fld>
            <a:endParaRPr lang="sv-SE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364DD81-8F2A-4A47-B116-4EC55BFD2560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r="2089"/>
          <a:stretch/>
        </p:blipFill>
        <p:spPr>
          <a:xfrm>
            <a:off x="246767" y="3064360"/>
            <a:ext cx="6357233" cy="1851664"/>
          </a:xfrm>
          <a:prstGeom prst="rect">
            <a:avLst/>
          </a:prstGeom>
        </p:spPr>
      </p:pic>
      <p:sp>
        <p:nvSpPr>
          <p:cNvPr id="8" name="Underrubrik 2">
            <a:extLst>
              <a:ext uri="{FF2B5EF4-FFF2-40B4-BE49-F238E27FC236}">
                <a16:creationId xmlns:a16="http://schemas.microsoft.com/office/drawing/2014/main" id="{D9708450-9178-2141-98CC-ED5077AF0A7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4189" y="2113366"/>
            <a:ext cx="6018211" cy="458384"/>
          </a:xfrm>
        </p:spPr>
        <p:txBody>
          <a:bodyPr lIns="0" rIns="0">
            <a:noAutofit/>
          </a:bodyPr>
          <a:lstStyle>
            <a:lvl1pPr marL="0" indent="0" algn="l">
              <a:lnSpc>
                <a:spcPct val="90000"/>
              </a:lnSpc>
              <a:buNone/>
              <a:defRPr sz="15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7" name="Rubrik 1">
            <a:extLst>
              <a:ext uri="{FF2B5EF4-FFF2-40B4-BE49-F238E27FC236}">
                <a16:creationId xmlns:a16="http://schemas.microsoft.com/office/drawing/2014/main" id="{C2E0D84A-3EC1-DD40-8DA6-147FB563C32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4200" y="1436565"/>
            <a:ext cx="6018875" cy="648000"/>
          </a:xfrm>
        </p:spPr>
        <p:txBody>
          <a:bodyPr lIns="0" rIns="0" anchor="t">
            <a:noAutofit/>
          </a:bodyPr>
          <a:lstStyle>
            <a:lvl1pPr algn="l">
              <a:lnSpc>
                <a:spcPct val="90000"/>
              </a:lnSpc>
              <a:defRPr sz="2700"/>
            </a:lvl1pPr>
          </a:lstStyle>
          <a:p>
            <a:r>
              <a:rPr lang="sv-SE" dirty="0"/>
              <a:t>Klicka för att ändra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7577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_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D42CF517-9DD4-421C-AE14-6B4A4453B0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CEF508-B04A-E34A-80DD-59A12C5D1039}" type="datetime1">
              <a:rPr lang="sv-SE" smtClean="0"/>
              <a:t>2023-09-12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E3CD4D9-900F-4086-81FD-AB6606D8B7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528E8603-97F6-448F-AF1B-7D33D8C756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22A9A3-8636-4A04-BD48-3153280FB086}" type="slidenum">
              <a:rPr lang="sv-SE" smtClean="0"/>
              <a:t>‹#›</a:t>
            </a:fld>
            <a:endParaRPr lang="sv-SE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E50A1F01-262A-6542-96F8-9345B6213D97}"/>
              </a:ext>
              <a:ext uri="{C183D7F6-B498-43B3-948B-1728B52AA6E4}">
                <adec:decorative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asvg="http://schemas.microsoft.com/office/drawing/2016/SVG/main" r:embed="rId3"/>
              </a:ext>
            </a:extLst>
          </a:blip>
          <a:srcRect r="700"/>
          <a:stretch>
            <a:fillRect/>
          </a:stretch>
        </p:blipFill>
        <p:spPr>
          <a:xfrm>
            <a:off x="184547" y="2559026"/>
            <a:ext cx="6487719" cy="2443097"/>
          </a:xfrm>
          <a:prstGeom prst="rect">
            <a:avLst/>
          </a:prstGeom>
        </p:spPr>
      </p:pic>
      <p:sp>
        <p:nvSpPr>
          <p:cNvPr id="3" name="Underrubrik 2">
            <a:extLst>
              <a:ext uri="{FF2B5EF4-FFF2-40B4-BE49-F238E27FC236}">
                <a16:creationId xmlns:a16="http://schemas.microsoft.com/office/drawing/2014/main" id="{FF22D944-0354-4DCD-8334-3FC7C9FFC90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25946" y="1974952"/>
            <a:ext cx="6067723" cy="596798"/>
          </a:xfrm>
        </p:spPr>
        <p:txBody>
          <a:bodyPr/>
          <a:lstStyle>
            <a:lvl1pPr marL="0" indent="0" algn="l">
              <a:buNone/>
              <a:defRPr sz="1350"/>
            </a:lvl1pPr>
            <a:lvl2pPr marL="257175" indent="0" algn="ctr">
              <a:buNone/>
              <a:defRPr sz="1125"/>
            </a:lvl2pPr>
            <a:lvl3pPr marL="514350" indent="0" algn="ctr">
              <a:buNone/>
              <a:defRPr sz="1013"/>
            </a:lvl3pPr>
            <a:lvl4pPr marL="771525" indent="0" algn="ctr">
              <a:buNone/>
              <a:defRPr sz="900"/>
            </a:lvl4pPr>
            <a:lvl5pPr marL="1028700" indent="0" algn="ctr">
              <a:buNone/>
              <a:defRPr sz="900"/>
            </a:lvl5pPr>
            <a:lvl6pPr marL="1285875" indent="0" algn="ctr">
              <a:buNone/>
              <a:defRPr sz="900"/>
            </a:lvl6pPr>
            <a:lvl7pPr marL="1543050" indent="0" algn="ctr">
              <a:buNone/>
              <a:defRPr sz="900"/>
            </a:lvl7pPr>
            <a:lvl8pPr marL="1800225" indent="0" algn="ctr">
              <a:buNone/>
              <a:defRPr sz="900"/>
            </a:lvl8pPr>
            <a:lvl9pPr marL="2057400" indent="0" algn="ctr">
              <a:buNone/>
              <a:defRPr sz="900"/>
            </a:lvl9pPr>
          </a:lstStyle>
          <a:p>
            <a:r>
              <a:rPr lang="sv-SE"/>
              <a:t>Klicka här för att ändra mall för underrubrikformat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918E66E3-BED5-4C6D-B465-40B84B88DB3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25946" y="1390868"/>
            <a:ext cx="6067723" cy="566641"/>
          </a:xfrm>
        </p:spPr>
        <p:txBody>
          <a:bodyPr anchor="t"/>
          <a:lstStyle>
            <a:lvl1pPr algn="l">
              <a:defRPr sz="2025"/>
            </a:lvl1pPr>
          </a:lstStyle>
          <a:p>
            <a:r>
              <a:rPr lang="sv-SE"/>
              <a:t>Klicka här för att ändra mall för rubrikformat</a:t>
            </a:r>
          </a:p>
        </p:txBody>
      </p:sp>
      <p:pic>
        <p:nvPicPr>
          <p:cNvPr id="9" name="Bildobjekt 19">
            <a:extLst>
              <a:ext uri="{FF2B5EF4-FFF2-40B4-BE49-F238E27FC236}">
                <a16:creationId xmlns:a16="http://schemas.microsoft.com/office/drawing/2014/main" id="{D08EEA80-13E5-4697-A9DA-21277742FA7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644857" y="333641"/>
            <a:ext cx="965792" cy="205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66358620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3155F99B-B767-4EF4-BDED-E7E361EB3F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22A9A3-8636-4A04-BD48-3153280FB086}" type="slidenum">
              <a:rPr lang="sv-SE" smtClean="0"/>
              <a:t>‹#›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1B72178-9B2F-45A7-A31E-7710591B0F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69A48BD2-8B5B-44E1-8F6C-9B0D41A68E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D3F4D8-4BE6-D743-AE27-D14757A6F270}" type="datetime1">
              <a:rPr lang="sv-SE" smtClean="0"/>
              <a:t>2023-09-12</a:t>
            </a:fld>
            <a:endParaRPr lang="sv-SE"/>
          </a:p>
        </p:txBody>
      </p:sp>
      <p:sp>
        <p:nvSpPr>
          <p:cNvPr id="7" name="Platshållare för innehåll 6">
            <a:extLst>
              <a:ext uri="{FF2B5EF4-FFF2-40B4-BE49-F238E27FC236}">
                <a16:creationId xmlns:a16="http://schemas.microsoft.com/office/drawing/2014/main" id="{FA474A84-82A6-4747-B64B-83217A0CB54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48916" y="1194199"/>
            <a:ext cx="5824240" cy="3540919"/>
          </a:xfrm>
        </p:spPr>
        <p:txBody>
          <a:bodyPr>
            <a:normAutofit/>
          </a:bodyPr>
          <a:lstStyle>
            <a:lvl1pPr>
              <a:defRPr sz="1125"/>
            </a:lvl1pPr>
            <a:lvl2pPr marL="385763" indent="-128588">
              <a:buFont typeface="Arial" panose="020B0604020202020204" pitchFamily="34" charset="0"/>
              <a:buChar char="‒"/>
              <a:defRPr sz="1013"/>
            </a:lvl2pPr>
            <a:lvl3pPr marL="642938" indent="-128588">
              <a:buFont typeface="Arial" panose="020B0604020202020204" pitchFamily="34" charset="0"/>
              <a:buChar char="˃"/>
              <a:defRPr sz="900"/>
            </a:lvl3pPr>
            <a:lvl4pPr>
              <a:defRPr sz="788"/>
            </a:lvl4pPr>
            <a:lvl5pPr marL="1157288" indent="-128588">
              <a:buFont typeface="Arial" panose="020B0604020202020204" pitchFamily="34" charset="0"/>
              <a:buChar char="‒"/>
              <a:defRPr sz="788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4EB0B6BB-AC5F-485A-85BA-F56E433C7D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1936248604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två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2579ABBA-285A-4BDD-A8DE-D7E232663A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22A9A3-8636-4A04-BD48-3153280FB086}" type="slidenum">
              <a:rPr lang="sv-SE" smtClean="0"/>
              <a:t>‹#›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5C0D5306-1C16-4D96-8016-0B45E724AE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C966D54-57EE-458D-979F-B857F3483E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663559-229D-724F-BBD5-623E582CF5C1}" type="datetime1">
              <a:rPr lang="sv-SE" smtClean="0"/>
              <a:t>2023-09-12</a:t>
            </a:fld>
            <a:endParaRPr lang="sv-SE"/>
          </a:p>
        </p:txBody>
      </p:sp>
      <p:sp>
        <p:nvSpPr>
          <p:cNvPr id="11" name="Platshållare för innehåll 6">
            <a:extLst>
              <a:ext uri="{FF2B5EF4-FFF2-40B4-BE49-F238E27FC236}">
                <a16:creationId xmlns:a16="http://schemas.microsoft.com/office/drawing/2014/main" id="{C23E0C61-4086-4E9E-9765-C96613FBE58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827433" y="1193800"/>
            <a:ext cx="2846021" cy="3540919"/>
          </a:xfrm>
        </p:spPr>
        <p:txBody>
          <a:bodyPr>
            <a:normAutofit/>
          </a:bodyPr>
          <a:lstStyle>
            <a:lvl1pPr>
              <a:defRPr sz="1125"/>
            </a:lvl1pPr>
            <a:lvl2pPr>
              <a:defRPr sz="1013"/>
            </a:lvl2pPr>
            <a:lvl3pPr>
              <a:defRPr sz="900"/>
            </a:lvl3pPr>
            <a:lvl4pPr>
              <a:defRPr sz="788"/>
            </a:lvl4pPr>
            <a:lvl5pPr>
              <a:defRPr sz="788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2" name="Platshållare för innehåll 6">
            <a:extLst>
              <a:ext uri="{FF2B5EF4-FFF2-40B4-BE49-F238E27FC236}">
                <a16:creationId xmlns:a16="http://schemas.microsoft.com/office/drawing/2014/main" id="{F4B1B781-8A23-4309-9884-DD6E3CE0EF21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48916" y="1194595"/>
            <a:ext cx="2846021" cy="3540919"/>
          </a:xfrm>
        </p:spPr>
        <p:txBody>
          <a:bodyPr>
            <a:normAutofit/>
          </a:bodyPr>
          <a:lstStyle>
            <a:lvl1pPr>
              <a:defRPr sz="1125"/>
            </a:lvl1pPr>
            <a:lvl2pPr>
              <a:defRPr sz="1013"/>
            </a:lvl2pPr>
            <a:lvl3pPr>
              <a:defRPr sz="900"/>
            </a:lvl3pPr>
            <a:lvl4pPr>
              <a:defRPr sz="788"/>
            </a:lvl4pPr>
            <a:lvl5pPr>
              <a:defRPr sz="788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Rubrik 5">
            <a:extLst>
              <a:ext uri="{FF2B5EF4-FFF2-40B4-BE49-F238E27FC236}">
                <a16:creationId xmlns:a16="http://schemas.microsoft.com/office/drawing/2014/main" id="{41903042-6CE8-4286-847C-7E810AF584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2111139128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underrubriker och två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2579ABBA-285A-4BDD-A8DE-D7E232663A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22A9A3-8636-4A04-BD48-3153280FB086}" type="slidenum">
              <a:rPr lang="sv-SE" smtClean="0"/>
              <a:t>‹#›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5C0D5306-1C16-4D96-8016-0B45E724AE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C966D54-57EE-458D-979F-B857F3483E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AF60D0-FE42-A248-8A54-F26FEA948759}" type="datetime1">
              <a:rPr lang="sv-SE" smtClean="0"/>
              <a:t>2023-09-12</a:t>
            </a:fld>
            <a:endParaRPr lang="sv-SE"/>
          </a:p>
        </p:txBody>
      </p:sp>
      <p:sp>
        <p:nvSpPr>
          <p:cNvPr id="8" name="Platshållare för innehåll 6">
            <a:extLst>
              <a:ext uri="{FF2B5EF4-FFF2-40B4-BE49-F238E27FC236}">
                <a16:creationId xmlns:a16="http://schemas.microsoft.com/office/drawing/2014/main" id="{6304BE55-467D-4CE2-9B8D-EC038C989AF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827433" y="1664494"/>
            <a:ext cx="2845723" cy="3070622"/>
          </a:xfrm>
        </p:spPr>
        <p:txBody>
          <a:bodyPr>
            <a:normAutofit/>
          </a:bodyPr>
          <a:lstStyle>
            <a:lvl1pPr>
              <a:defRPr sz="1125"/>
            </a:lvl1pPr>
            <a:lvl2pPr>
              <a:defRPr sz="1013"/>
            </a:lvl2pPr>
            <a:lvl3pPr>
              <a:defRPr sz="900"/>
            </a:lvl3pPr>
            <a:lvl4pPr>
              <a:defRPr sz="788"/>
            </a:lvl4pPr>
            <a:lvl5pPr>
              <a:defRPr sz="788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2" name="Platshållare för text 10">
            <a:extLst>
              <a:ext uri="{FF2B5EF4-FFF2-40B4-BE49-F238E27FC236}">
                <a16:creationId xmlns:a16="http://schemas.microsoft.com/office/drawing/2014/main" id="{4D066E04-C797-4C85-AD05-F6EFD42AED3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827433" y="1194197"/>
            <a:ext cx="2845723" cy="398859"/>
          </a:xfrm>
        </p:spPr>
        <p:txBody>
          <a:bodyPr>
            <a:noAutofit/>
          </a:bodyPr>
          <a:lstStyle>
            <a:lvl1pPr marL="0" indent="0">
              <a:buNone/>
              <a:defRPr sz="1125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3" name="Platshållare för innehåll 6">
            <a:extLst>
              <a:ext uri="{FF2B5EF4-FFF2-40B4-BE49-F238E27FC236}">
                <a16:creationId xmlns:a16="http://schemas.microsoft.com/office/drawing/2014/main" id="{20A69851-5F12-40D3-A417-2DCD7530A5F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52165" y="1664494"/>
            <a:ext cx="2844115" cy="3070622"/>
          </a:xfrm>
        </p:spPr>
        <p:txBody>
          <a:bodyPr>
            <a:normAutofit/>
          </a:bodyPr>
          <a:lstStyle>
            <a:lvl1pPr>
              <a:defRPr sz="1125"/>
            </a:lvl1pPr>
            <a:lvl2pPr>
              <a:defRPr sz="1013"/>
            </a:lvl2pPr>
            <a:lvl3pPr>
              <a:defRPr sz="900"/>
            </a:lvl3pPr>
            <a:lvl4pPr>
              <a:defRPr sz="788"/>
            </a:lvl4pPr>
            <a:lvl5pPr>
              <a:defRPr sz="788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4" name="Platshållare för text 10">
            <a:extLst>
              <a:ext uri="{FF2B5EF4-FFF2-40B4-BE49-F238E27FC236}">
                <a16:creationId xmlns:a16="http://schemas.microsoft.com/office/drawing/2014/main" id="{9472B11D-1B06-4AB9-A788-CEFECBDC8E1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52165" y="1194197"/>
            <a:ext cx="2844115" cy="398859"/>
          </a:xfrm>
        </p:spPr>
        <p:txBody>
          <a:bodyPr>
            <a:noAutofit/>
          </a:bodyPr>
          <a:lstStyle>
            <a:lvl1pPr marL="0" indent="0">
              <a:buNone/>
              <a:defRPr sz="1125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6945529D-785A-43B8-8CB0-BF49CF7DDB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3325182608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89E1C101-21B3-4DE8-ACC8-96D836B902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22A9A3-8636-4A04-BD48-3153280FB086}" type="slidenum">
              <a:rPr lang="sv-SE" smtClean="0"/>
              <a:t>‹#›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698402AB-3C0D-47F3-B526-AEE8B976CD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91421C8-A909-4498-9C65-2C4F1875E5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BA7D9E-CD1D-F144-88A8-27D2C4D672B1}" type="datetime1">
              <a:rPr lang="sv-SE" smtClean="0"/>
              <a:t>2023-09-12</a:t>
            </a:fld>
            <a:endParaRPr lang="sv-SE"/>
          </a:p>
        </p:txBody>
      </p:sp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FECDBECF-4709-417A-8783-E9CAB0603AC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84845" y="1194199"/>
            <a:ext cx="6488311" cy="3540919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08A04EEF-7713-4918-A58B-127EED1C37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3772882460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två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89E1C101-21B3-4DE8-ACC8-96D836B902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22A9A3-8636-4A04-BD48-3153280FB086}" type="slidenum">
              <a:rPr lang="sv-SE" smtClean="0"/>
              <a:t>‹#›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698402AB-3C0D-47F3-B526-AEE8B976CD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91421C8-A909-4498-9C65-2C4F1875E5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1585DF-A6DF-A54D-9960-BE991B45200F}" type="datetime1">
              <a:rPr lang="sv-SE" smtClean="0"/>
              <a:t>2023-09-12</a:t>
            </a:fld>
            <a:endParaRPr lang="sv-SE"/>
          </a:p>
        </p:txBody>
      </p:sp>
      <p:sp>
        <p:nvSpPr>
          <p:cNvPr id="9" name="Platshållare för bild 6">
            <a:extLst>
              <a:ext uri="{FF2B5EF4-FFF2-40B4-BE49-F238E27FC236}">
                <a16:creationId xmlns:a16="http://schemas.microsoft.com/office/drawing/2014/main" id="{3747F699-0360-4395-8415-6E5114D6C6C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95249" y="1194199"/>
            <a:ext cx="3177908" cy="3540919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FECDBECF-4709-417A-8783-E9CAB0603AC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84845" y="1194595"/>
            <a:ext cx="3177907" cy="3540919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08A04EEF-7713-4918-A58B-127EED1C37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269185113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BDE0A226-9A3A-4E94-A386-D753C79EAE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22A9A3-8636-4A04-BD48-3153280FB086}" type="slidenum">
              <a:rPr lang="sv-SE" smtClean="0"/>
              <a:t>‹#›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32D627AA-4087-4599-9513-63987ED834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92B391E-9C84-4E0D-898B-8454343BE6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E91D87-1285-6843-BFFA-E098C31F828A}" type="datetime1">
              <a:rPr lang="sv-SE" smtClean="0"/>
              <a:t>2023-09-12</a:t>
            </a:fld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2F4B5727-3AF8-4023-B42B-839E8695AB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2818967758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528E8603-97F6-448F-AF1B-7D33D8C756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22A9A3-8636-4A04-BD48-3153280FB086}" type="slidenum">
              <a:rPr lang="sv-SE" smtClean="0"/>
              <a:t>‹#›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E3CD4D9-900F-4086-81FD-AB6606D8B7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D42CF517-9DD4-421C-AE14-6B4A4453B0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B926A-213D-3B48-BB0C-19ADA28B3F4D}" type="datetime1">
              <a:rPr lang="sv-SE" smtClean="0"/>
              <a:t>2023-09-12</a:t>
            </a:fld>
            <a:endParaRPr lang="sv-SE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83F7B48-BB86-D74E-A1EB-2C3CDBAC7F2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700"/>
          <a:stretch/>
        </p:blipFill>
        <p:spPr>
          <a:xfrm>
            <a:off x="184547" y="2559026"/>
            <a:ext cx="6487719" cy="2443097"/>
          </a:xfrm>
          <a:prstGeom prst="rect">
            <a:avLst/>
          </a:prstGeom>
        </p:spPr>
      </p:pic>
      <p:sp>
        <p:nvSpPr>
          <p:cNvPr id="25" name="Underrubrik 2">
            <a:extLst>
              <a:ext uri="{FF2B5EF4-FFF2-40B4-BE49-F238E27FC236}">
                <a16:creationId xmlns:a16="http://schemas.microsoft.com/office/drawing/2014/main" id="{040AB90C-B2A7-4284-98E0-80DAE0A2CD5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25946" y="1974952"/>
            <a:ext cx="6067723" cy="596798"/>
          </a:xfrm>
        </p:spPr>
        <p:txBody>
          <a:bodyPr/>
          <a:lstStyle>
            <a:lvl1pPr marL="0" indent="0" algn="l">
              <a:buNone/>
              <a:defRPr sz="1350"/>
            </a:lvl1pPr>
            <a:lvl2pPr marL="257175" indent="0" algn="ctr">
              <a:buNone/>
              <a:defRPr sz="1125"/>
            </a:lvl2pPr>
            <a:lvl3pPr marL="514350" indent="0" algn="ctr">
              <a:buNone/>
              <a:defRPr sz="1013"/>
            </a:lvl3pPr>
            <a:lvl4pPr marL="771525" indent="0" algn="ctr">
              <a:buNone/>
              <a:defRPr sz="900"/>
            </a:lvl4pPr>
            <a:lvl5pPr marL="1028700" indent="0" algn="ctr">
              <a:buNone/>
              <a:defRPr sz="900"/>
            </a:lvl5pPr>
            <a:lvl6pPr marL="1285875" indent="0" algn="ctr">
              <a:buNone/>
              <a:defRPr sz="900"/>
            </a:lvl6pPr>
            <a:lvl7pPr marL="1543050" indent="0" algn="ctr">
              <a:buNone/>
              <a:defRPr sz="900"/>
            </a:lvl7pPr>
            <a:lvl8pPr marL="1800225" indent="0" algn="ctr">
              <a:buNone/>
              <a:defRPr sz="900"/>
            </a:lvl8pPr>
            <a:lvl9pPr marL="2057400" indent="0" algn="ctr">
              <a:buNone/>
              <a:defRPr sz="900"/>
            </a:lvl9pPr>
          </a:lstStyle>
          <a:p>
            <a:r>
              <a:rPr lang="sv-SE"/>
              <a:t>Klicka om du vill redigera mall för underrubrikformat</a:t>
            </a:r>
          </a:p>
        </p:txBody>
      </p:sp>
      <p:sp>
        <p:nvSpPr>
          <p:cNvPr id="24" name="Rubrik 1">
            <a:extLst>
              <a:ext uri="{FF2B5EF4-FFF2-40B4-BE49-F238E27FC236}">
                <a16:creationId xmlns:a16="http://schemas.microsoft.com/office/drawing/2014/main" id="{2973C368-F8A4-41B1-9D52-4D79988138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25946" y="1390868"/>
            <a:ext cx="6067723" cy="566641"/>
          </a:xfrm>
        </p:spPr>
        <p:txBody>
          <a:bodyPr anchor="t"/>
          <a:lstStyle>
            <a:lvl1pPr algn="l">
              <a:defRPr sz="2025"/>
            </a:lvl1pPr>
          </a:lstStyle>
          <a:p>
            <a:r>
              <a:rPr lang="sv-SE"/>
              <a:t>Klicka här för att ändra format</a:t>
            </a:r>
          </a:p>
        </p:txBody>
      </p:sp>
    </p:spTree>
    <p:extLst>
      <p:ext uri="{BB962C8B-B14F-4D97-AF65-F5344CB8AC3E}">
        <p14:creationId xmlns:p14="http://schemas.microsoft.com/office/powerpoint/2010/main" val="35193363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_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D42CF517-9DD4-421C-AE14-6B4A4453B0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CEF508-B04A-E34A-80DD-59A12C5D1039}" type="datetime1">
              <a:rPr lang="sv-SE" smtClean="0"/>
              <a:t>2023-09-12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E3CD4D9-900F-4086-81FD-AB6606D8B7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528E8603-97F6-448F-AF1B-7D33D8C756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22A9A3-8636-4A04-BD48-3153280FB086}" type="slidenum">
              <a:rPr lang="sv-SE" smtClean="0"/>
              <a:t>‹#›</a:t>
            </a:fld>
            <a:endParaRPr lang="sv-SE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E50A1F01-262A-6542-96F8-9345B6213D9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700"/>
          <a:stretch/>
        </p:blipFill>
        <p:spPr>
          <a:xfrm>
            <a:off x="184547" y="2559026"/>
            <a:ext cx="6487719" cy="2443097"/>
          </a:xfrm>
          <a:prstGeom prst="rect">
            <a:avLst/>
          </a:prstGeom>
        </p:spPr>
      </p:pic>
      <p:sp>
        <p:nvSpPr>
          <p:cNvPr id="3" name="Underrubrik 2">
            <a:extLst>
              <a:ext uri="{FF2B5EF4-FFF2-40B4-BE49-F238E27FC236}">
                <a16:creationId xmlns:a16="http://schemas.microsoft.com/office/drawing/2014/main" id="{FF22D944-0354-4DCD-8334-3FC7C9FFC90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25946" y="1974952"/>
            <a:ext cx="6067723" cy="596798"/>
          </a:xfrm>
        </p:spPr>
        <p:txBody>
          <a:bodyPr/>
          <a:lstStyle>
            <a:lvl1pPr marL="0" indent="0" algn="l">
              <a:buNone/>
              <a:defRPr sz="1350"/>
            </a:lvl1pPr>
            <a:lvl2pPr marL="257175" indent="0" algn="ctr">
              <a:buNone/>
              <a:defRPr sz="1125"/>
            </a:lvl2pPr>
            <a:lvl3pPr marL="514350" indent="0" algn="ctr">
              <a:buNone/>
              <a:defRPr sz="1013"/>
            </a:lvl3pPr>
            <a:lvl4pPr marL="771525" indent="0" algn="ctr">
              <a:buNone/>
              <a:defRPr sz="900"/>
            </a:lvl4pPr>
            <a:lvl5pPr marL="1028700" indent="0" algn="ctr">
              <a:buNone/>
              <a:defRPr sz="900"/>
            </a:lvl5pPr>
            <a:lvl6pPr marL="1285875" indent="0" algn="ctr">
              <a:buNone/>
              <a:defRPr sz="900"/>
            </a:lvl6pPr>
            <a:lvl7pPr marL="1543050" indent="0" algn="ctr">
              <a:buNone/>
              <a:defRPr sz="900"/>
            </a:lvl7pPr>
            <a:lvl8pPr marL="1800225" indent="0" algn="ctr">
              <a:buNone/>
              <a:defRPr sz="900"/>
            </a:lvl8pPr>
            <a:lvl9pPr marL="2057400" indent="0" algn="ctr">
              <a:buNone/>
              <a:defRPr sz="900"/>
            </a:lvl9pPr>
          </a:lstStyle>
          <a:p>
            <a:r>
              <a:rPr lang="sv-SE"/>
              <a:t>Klicka om du vill redigera mall för underrubrikformat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918E66E3-BED5-4C6D-B465-40B84B88DB3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25946" y="1390868"/>
            <a:ext cx="6067723" cy="566641"/>
          </a:xfrm>
        </p:spPr>
        <p:txBody>
          <a:bodyPr anchor="t"/>
          <a:lstStyle>
            <a:lvl1pPr algn="l">
              <a:defRPr sz="2025"/>
            </a:lvl1pPr>
          </a:lstStyle>
          <a:p>
            <a:r>
              <a:rPr lang="sv-SE"/>
              <a:t>Klicka här för att ändra format</a:t>
            </a:r>
          </a:p>
        </p:txBody>
      </p:sp>
      <p:pic>
        <p:nvPicPr>
          <p:cNvPr id="9" name="Bildobjekt 19">
            <a:extLst>
              <a:ext uri="{FF2B5EF4-FFF2-40B4-BE49-F238E27FC236}">
                <a16:creationId xmlns:a16="http://schemas.microsoft.com/office/drawing/2014/main" id="{D08EEA80-13E5-4697-A9DA-21277742FA7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44857" y="333641"/>
            <a:ext cx="965792" cy="205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0365520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3155F99B-B767-4EF4-BDED-E7E361EB3F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22A9A3-8636-4A04-BD48-3153280FB086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1B72178-9B2F-45A7-A31E-7710591B0F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69A48BD2-8B5B-44E1-8F6C-9B0D41A68E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D3F4D8-4BE6-D743-AE27-D14757A6F270}" type="datetime1">
              <a:rPr lang="sv-SE" smtClean="0"/>
              <a:t>2023-09-12</a:t>
            </a:fld>
            <a:endParaRPr lang="sv-SE"/>
          </a:p>
        </p:txBody>
      </p:sp>
      <p:sp>
        <p:nvSpPr>
          <p:cNvPr id="7" name="Platshållare för innehåll 6">
            <a:extLst>
              <a:ext uri="{FF2B5EF4-FFF2-40B4-BE49-F238E27FC236}">
                <a16:creationId xmlns:a16="http://schemas.microsoft.com/office/drawing/2014/main" id="{FA474A84-82A6-4747-B64B-83217A0CB54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48916" y="1194199"/>
            <a:ext cx="5824240" cy="3540919"/>
          </a:xfrm>
        </p:spPr>
        <p:txBody>
          <a:bodyPr>
            <a:normAutofit/>
          </a:bodyPr>
          <a:lstStyle>
            <a:lvl1pPr>
              <a:defRPr sz="1125"/>
            </a:lvl1pPr>
            <a:lvl2pPr marL="385763" indent="-128588">
              <a:buFont typeface="Arial" panose="020B0604020202020204" pitchFamily="34" charset="0"/>
              <a:buChar char="‒"/>
              <a:defRPr sz="1013"/>
            </a:lvl2pPr>
            <a:lvl3pPr marL="642938" indent="-128588">
              <a:buFont typeface="Arial" panose="020B0604020202020204" pitchFamily="34" charset="0"/>
              <a:buChar char="˃"/>
              <a:defRPr sz="900"/>
            </a:lvl3pPr>
            <a:lvl4pPr>
              <a:defRPr sz="788"/>
            </a:lvl4pPr>
            <a:lvl5pPr marL="1157288" indent="-128588">
              <a:buFont typeface="Arial" panose="020B0604020202020204" pitchFamily="34" charset="0"/>
              <a:buChar char="‒"/>
              <a:defRPr sz="788"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4EB0B6BB-AC5F-485A-85BA-F56E433C7D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</p:spTree>
    <p:extLst>
      <p:ext uri="{BB962C8B-B14F-4D97-AF65-F5344CB8AC3E}">
        <p14:creationId xmlns:p14="http://schemas.microsoft.com/office/powerpoint/2010/main" val="14000174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090237B-88FE-A740-9275-6347AA1C63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27FB4B-7893-4946-9C41-FB1EB79145A0}" type="slidenum">
              <a:rPr lang="sv-SE" smtClean="0"/>
              <a:t>‹#›</a:t>
            </a:fld>
            <a:endParaRPr lang="sv-S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02AFE5C-937B-EE40-9A6B-AEB1D44B0D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05333CB-1434-CD48-8D6D-0877D03C98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846D0D-7B1F-44C5-9284-771AACC62756}" type="datetime1">
              <a:rPr lang="sv-SE" smtClean="0"/>
              <a:t>2023-09-12</a:t>
            </a:fld>
            <a:endParaRPr lang="sv-SE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3DB5E93F-E018-934D-B125-CFB6D3B259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r="2089"/>
          <a:stretch/>
        </p:blipFill>
        <p:spPr>
          <a:xfrm>
            <a:off x="246767" y="3064360"/>
            <a:ext cx="6357233" cy="1851664"/>
          </a:xfrm>
          <a:prstGeom prst="rect">
            <a:avLst/>
          </a:prstGeom>
        </p:spPr>
      </p:pic>
      <p:sp>
        <p:nvSpPr>
          <p:cNvPr id="10" name="Underrubrik 2">
            <a:extLst>
              <a:ext uri="{FF2B5EF4-FFF2-40B4-BE49-F238E27FC236}">
                <a16:creationId xmlns:a16="http://schemas.microsoft.com/office/drawing/2014/main" id="{5376CEF8-4EAE-46E6-8292-1AC0484E800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4189" y="2113366"/>
            <a:ext cx="6018211" cy="458384"/>
          </a:xfrm>
        </p:spPr>
        <p:txBody>
          <a:bodyPr lIns="0" rIns="0">
            <a:noAutofit/>
          </a:bodyPr>
          <a:lstStyle>
            <a:lvl1pPr marL="0" indent="0" algn="l">
              <a:lnSpc>
                <a:spcPct val="90000"/>
              </a:lnSpc>
              <a:buNone/>
              <a:defRPr sz="15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9" name="Rubrik 1">
            <a:extLst>
              <a:ext uri="{FF2B5EF4-FFF2-40B4-BE49-F238E27FC236}">
                <a16:creationId xmlns:a16="http://schemas.microsoft.com/office/drawing/2014/main" id="{7954B8BA-4DAB-4627-8613-2775B12BE06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4200" y="1436565"/>
            <a:ext cx="6018875" cy="648000"/>
          </a:xfrm>
        </p:spPr>
        <p:txBody>
          <a:bodyPr lIns="0" rIns="0" anchor="t">
            <a:noAutofit/>
          </a:bodyPr>
          <a:lstStyle>
            <a:lvl1pPr algn="l">
              <a:lnSpc>
                <a:spcPct val="90000"/>
              </a:lnSpc>
              <a:defRPr sz="2700"/>
            </a:lvl1pPr>
          </a:lstStyle>
          <a:p>
            <a:r>
              <a:rPr lang="sv-SE" dirty="0"/>
              <a:t>Klicka för att ändra rubrikformat</a:t>
            </a:r>
            <a:endParaRPr lang="en-GB" dirty="0"/>
          </a:p>
        </p:txBody>
      </p:sp>
      <p:pic>
        <p:nvPicPr>
          <p:cNvPr id="152" name="Bildobjekt 19" descr="KTH Royal Institute of Technology">
            <a:extLst>
              <a:ext uri="{FF2B5EF4-FFF2-40B4-BE49-F238E27FC236}">
                <a16:creationId xmlns:a16="http://schemas.microsoft.com/office/drawing/2014/main" id="{824DB9BD-A298-6442-B174-7EC707EC32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35271" y="336161"/>
            <a:ext cx="1381125" cy="22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56855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två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2579ABBA-285A-4BDD-A8DE-D7E232663A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22A9A3-8636-4A04-BD48-3153280FB086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5C0D5306-1C16-4D96-8016-0B45E724AE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C966D54-57EE-458D-979F-B857F3483E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663559-229D-724F-BBD5-623E582CF5C1}" type="datetime1">
              <a:rPr lang="sv-SE" smtClean="0"/>
              <a:t>2023-09-12</a:t>
            </a:fld>
            <a:endParaRPr lang="sv-SE"/>
          </a:p>
        </p:txBody>
      </p:sp>
      <p:sp>
        <p:nvSpPr>
          <p:cNvPr id="11" name="Platshållare för innehåll 6">
            <a:extLst>
              <a:ext uri="{FF2B5EF4-FFF2-40B4-BE49-F238E27FC236}">
                <a16:creationId xmlns:a16="http://schemas.microsoft.com/office/drawing/2014/main" id="{C23E0C61-4086-4E9E-9765-C96613FBE58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827433" y="1193800"/>
            <a:ext cx="2846021" cy="3540919"/>
          </a:xfrm>
        </p:spPr>
        <p:txBody>
          <a:bodyPr>
            <a:normAutofit/>
          </a:bodyPr>
          <a:lstStyle>
            <a:lvl1pPr>
              <a:defRPr sz="1125"/>
            </a:lvl1pPr>
            <a:lvl2pPr>
              <a:defRPr sz="1013"/>
            </a:lvl2pPr>
            <a:lvl3pPr>
              <a:defRPr sz="900"/>
            </a:lvl3pPr>
            <a:lvl4pPr>
              <a:defRPr sz="788"/>
            </a:lvl4pPr>
            <a:lvl5pPr>
              <a:defRPr sz="788"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2" name="Platshållare för innehåll 6">
            <a:extLst>
              <a:ext uri="{FF2B5EF4-FFF2-40B4-BE49-F238E27FC236}">
                <a16:creationId xmlns:a16="http://schemas.microsoft.com/office/drawing/2014/main" id="{F4B1B781-8A23-4309-9884-DD6E3CE0EF21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48916" y="1194595"/>
            <a:ext cx="2846021" cy="3540919"/>
          </a:xfrm>
        </p:spPr>
        <p:txBody>
          <a:bodyPr>
            <a:normAutofit/>
          </a:bodyPr>
          <a:lstStyle>
            <a:lvl1pPr>
              <a:defRPr sz="1125"/>
            </a:lvl1pPr>
            <a:lvl2pPr>
              <a:defRPr sz="1013"/>
            </a:lvl2pPr>
            <a:lvl3pPr>
              <a:defRPr sz="900"/>
            </a:lvl3pPr>
            <a:lvl4pPr>
              <a:defRPr sz="788"/>
            </a:lvl4pPr>
            <a:lvl5pPr>
              <a:defRPr sz="788"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Rubrik 5">
            <a:extLst>
              <a:ext uri="{FF2B5EF4-FFF2-40B4-BE49-F238E27FC236}">
                <a16:creationId xmlns:a16="http://schemas.microsoft.com/office/drawing/2014/main" id="{41903042-6CE8-4286-847C-7E810AF584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</p:spTree>
    <p:extLst>
      <p:ext uri="{BB962C8B-B14F-4D97-AF65-F5344CB8AC3E}">
        <p14:creationId xmlns:p14="http://schemas.microsoft.com/office/powerpoint/2010/main" val="22012712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underrubriker och två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2579ABBA-285A-4BDD-A8DE-D7E232663A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22A9A3-8636-4A04-BD48-3153280FB086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5C0D5306-1C16-4D96-8016-0B45E724AE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C966D54-57EE-458D-979F-B857F3483E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AF60D0-FE42-A248-8A54-F26FEA948759}" type="datetime1">
              <a:rPr lang="sv-SE" smtClean="0"/>
              <a:t>2023-09-12</a:t>
            </a:fld>
            <a:endParaRPr lang="sv-SE"/>
          </a:p>
        </p:txBody>
      </p:sp>
      <p:sp>
        <p:nvSpPr>
          <p:cNvPr id="8" name="Platshållare för innehåll 6">
            <a:extLst>
              <a:ext uri="{FF2B5EF4-FFF2-40B4-BE49-F238E27FC236}">
                <a16:creationId xmlns:a16="http://schemas.microsoft.com/office/drawing/2014/main" id="{6304BE55-467D-4CE2-9B8D-EC038C989AF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827433" y="1664494"/>
            <a:ext cx="2845723" cy="3070622"/>
          </a:xfrm>
        </p:spPr>
        <p:txBody>
          <a:bodyPr>
            <a:normAutofit/>
          </a:bodyPr>
          <a:lstStyle>
            <a:lvl1pPr>
              <a:defRPr sz="1125"/>
            </a:lvl1pPr>
            <a:lvl2pPr>
              <a:defRPr sz="1013"/>
            </a:lvl2pPr>
            <a:lvl3pPr>
              <a:defRPr sz="900"/>
            </a:lvl3pPr>
            <a:lvl4pPr>
              <a:defRPr sz="788"/>
            </a:lvl4pPr>
            <a:lvl5pPr>
              <a:defRPr sz="788"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2" name="Platshållare för text 10">
            <a:extLst>
              <a:ext uri="{FF2B5EF4-FFF2-40B4-BE49-F238E27FC236}">
                <a16:creationId xmlns:a16="http://schemas.microsoft.com/office/drawing/2014/main" id="{4D066E04-C797-4C85-AD05-F6EFD42AED3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827433" y="1194197"/>
            <a:ext cx="2845723" cy="398859"/>
          </a:xfrm>
        </p:spPr>
        <p:txBody>
          <a:bodyPr>
            <a:noAutofit/>
          </a:bodyPr>
          <a:lstStyle>
            <a:lvl1pPr marL="0" indent="0">
              <a:buNone/>
              <a:defRPr sz="1125"/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3" name="Platshållare för innehåll 6">
            <a:extLst>
              <a:ext uri="{FF2B5EF4-FFF2-40B4-BE49-F238E27FC236}">
                <a16:creationId xmlns:a16="http://schemas.microsoft.com/office/drawing/2014/main" id="{20A69851-5F12-40D3-A417-2DCD7530A5F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52165" y="1664494"/>
            <a:ext cx="2844115" cy="3070622"/>
          </a:xfrm>
        </p:spPr>
        <p:txBody>
          <a:bodyPr>
            <a:normAutofit/>
          </a:bodyPr>
          <a:lstStyle>
            <a:lvl1pPr>
              <a:defRPr sz="1125"/>
            </a:lvl1pPr>
            <a:lvl2pPr>
              <a:defRPr sz="1013"/>
            </a:lvl2pPr>
            <a:lvl3pPr>
              <a:defRPr sz="900"/>
            </a:lvl3pPr>
            <a:lvl4pPr>
              <a:defRPr sz="788"/>
            </a:lvl4pPr>
            <a:lvl5pPr>
              <a:defRPr sz="788"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4" name="Platshållare för text 10">
            <a:extLst>
              <a:ext uri="{FF2B5EF4-FFF2-40B4-BE49-F238E27FC236}">
                <a16:creationId xmlns:a16="http://schemas.microsoft.com/office/drawing/2014/main" id="{9472B11D-1B06-4AB9-A788-CEFECBDC8E1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52165" y="1194197"/>
            <a:ext cx="2844115" cy="398859"/>
          </a:xfrm>
        </p:spPr>
        <p:txBody>
          <a:bodyPr>
            <a:noAutofit/>
          </a:bodyPr>
          <a:lstStyle>
            <a:lvl1pPr marL="0" indent="0">
              <a:buNone/>
              <a:defRPr sz="1125"/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6945529D-785A-43B8-8CB0-BF49CF7DDB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</p:spTree>
    <p:extLst>
      <p:ext uri="{BB962C8B-B14F-4D97-AF65-F5344CB8AC3E}">
        <p14:creationId xmlns:p14="http://schemas.microsoft.com/office/powerpoint/2010/main" val="42093288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89E1C101-21B3-4DE8-ACC8-96D836B902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22A9A3-8636-4A04-BD48-3153280FB086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698402AB-3C0D-47F3-B526-AEE8B976CD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91421C8-A909-4498-9C65-2C4F1875E5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BA7D9E-CD1D-F144-88A8-27D2C4D672B1}" type="datetime1">
              <a:rPr lang="sv-SE" smtClean="0"/>
              <a:t>2023-09-12</a:t>
            </a:fld>
            <a:endParaRPr lang="sv-SE"/>
          </a:p>
        </p:txBody>
      </p:sp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FECDBECF-4709-417A-8783-E9CAB0603AC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84845" y="1194199"/>
            <a:ext cx="6488311" cy="3540919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08A04EEF-7713-4918-A58B-127EED1C37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</p:spTree>
    <p:extLst>
      <p:ext uri="{BB962C8B-B14F-4D97-AF65-F5344CB8AC3E}">
        <p14:creationId xmlns:p14="http://schemas.microsoft.com/office/powerpoint/2010/main" val="82339974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två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89E1C101-21B3-4DE8-ACC8-96D836B902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22A9A3-8636-4A04-BD48-3153280FB086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698402AB-3C0D-47F3-B526-AEE8B976CD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91421C8-A909-4498-9C65-2C4F1875E5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1585DF-A6DF-A54D-9960-BE991B45200F}" type="datetime1">
              <a:rPr lang="sv-SE" smtClean="0"/>
              <a:t>2023-09-12</a:t>
            </a:fld>
            <a:endParaRPr lang="sv-SE"/>
          </a:p>
        </p:txBody>
      </p:sp>
      <p:sp>
        <p:nvSpPr>
          <p:cNvPr id="9" name="Platshållare för bild 6">
            <a:extLst>
              <a:ext uri="{FF2B5EF4-FFF2-40B4-BE49-F238E27FC236}">
                <a16:creationId xmlns:a16="http://schemas.microsoft.com/office/drawing/2014/main" id="{3747F699-0360-4395-8415-6E5114D6C6C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95249" y="1194199"/>
            <a:ext cx="3177908" cy="3540919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FECDBECF-4709-417A-8783-E9CAB0603AC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84845" y="1194595"/>
            <a:ext cx="3177907" cy="3540919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08A04EEF-7713-4918-A58B-127EED1C37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</p:spTree>
    <p:extLst>
      <p:ext uri="{BB962C8B-B14F-4D97-AF65-F5344CB8AC3E}">
        <p14:creationId xmlns:p14="http://schemas.microsoft.com/office/powerpoint/2010/main" val="38512787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BDE0A226-9A3A-4E94-A386-D753C79EAE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22A9A3-8636-4A04-BD48-3153280FB086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32D627AA-4087-4599-9513-63987ED834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92B391E-9C84-4E0D-898B-8454343BE6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E91D87-1285-6843-BFFA-E098C31F828A}" type="datetime1">
              <a:rPr lang="sv-SE" smtClean="0"/>
              <a:t>2023-09-12</a:t>
            </a:fld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2F4B5727-3AF8-4023-B42B-839E8695AB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</p:spTree>
    <p:extLst>
      <p:ext uri="{BB962C8B-B14F-4D97-AF65-F5344CB8AC3E}">
        <p14:creationId xmlns:p14="http://schemas.microsoft.com/office/powerpoint/2010/main" val="6368020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ktangel 13"/>
          <p:cNvSpPr/>
          <p:nvPr userDrawn="1"/>
        </p:nvSpPr>
        <p:spPr bwMode="gray">
          <a:xfrm>
            <a:off x="0" y="2709862"/>
            <a:ext cx="6858000" cy="24336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760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176140" y="870887"/>
            <a:ext cx="5238253" cy="782763"/>
          </a:xfrm>
        </p:spPr>
        <p:txBody>
          <a:bodyPr>
            <a:normAutofit/>
          </a:bodyPr>
          <a:lstStyle>
            <a:lvl1pPr algn="l">
              <a:lnSpc>
                <a:spcPts val="2138"/>
              </a:lnSpc>
              <a:defRPr sz="2025" b="1"/>
            </a:lvl1pPr>
          </a:lstStyle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175974" y="1707654"/>
            <a:ext cx="5240306" cy="702078"/>
          </a:xfrm>
        </p:spPr>
        <p:txBody>
          <a:bodyPr>
            <a:normAutofit/>
          </a:bodyPr>
          <a:lstStyle>
            <a:lvl1pPr marL="0" indent="0" algn="l">
              <a:lnSpc>
                <a:spcPts val="1575"/>
              </a:lnSpc>
              <a:spcBef>
                <a:spcPts val="0"/>
              </a:spcBef>
              <a:buNone/>
              <a:defRPr sz="1350">
                <a:solidFill>
                  <a:schemeClr val="tx1"/>
                </a:solidFill>
              </a:defRPr>
            </a:lvl1pPr>
            <a:lvl2pPr marL="2571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5143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771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285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5430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800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smtClean="0"/>
              <a:t>Klicka här för att ändra format på underrubrik i bakgrunden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260747" y="258367"/>
            <a:ext cx="602954" cy="602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031734" y="4197523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760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2427" y="3037053"/>
            <a:ext cx="6863152" cy="911999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760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5938" y="3360689"/>
            <a:ext cx="6871226" cy="1420614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760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3361735"/>
            <a:ext cx="6857998" cy="813476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760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3735" y="3252739"/>
            <a:ext cx="6860507" cy="1318214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760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7708" y="4474689"/>
            <a:ext cx="6868094" cy="242600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760"/>
          </a:p>
        </p:txBody>
      </p:sp>
      <p:sp>
        <p:nvSpPr>
          <p:cNvPr id="6" name="textruta 5"/>
          <p:cNvSpPr txBox="1"/>
          <p:nvPr userDrawn="1"/>
        </p:nvSpPr>
        <p:spPr>
          <a:xfrm>
            <a:off x="5327567" y="197612"/>
            <a:ext cx="1082348" cy="2828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619" b="1" dirty="0" smtClean="0"/>
              <a:t>KTH ROYAL INSTITUTE</a:t>
            </a:r>
            <a:br>
              <a:rPr lang="sv-SE" sz="619" b="1" dirty="0" smtClean="0"/>
            </a:br>
            <a:r>
              <a:rPr lang="sv-SE" sz="619" b="1" dirty="0" smtClean="0"/>
              <a:t>OF</a:t>
            </a:r>
            <a:r>
              <a:rPr lang="sv-SE" sz="619" b="1" baseline="0" dirty="0" smtClean="0"/>
              <a:t> TECHNOLOGY</a:t>
            </a:r>
            <a:endParaRPr lang="sv-SE" sz="619" b="1" dirty="0"/>
          </a:p>
        </p:txBody>
      </p:sp>
    </p:spTree>
    <p:extLst>
      <p:ext uri="{BB962C8B-B14F-4D97-AF65-F5344CB8AC3E}">
        <p14:creationId xmlns:p14="http://schemas.microsoft.com/office/powerpoint/2010/main" val="27513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/>
          <p:cNvSpPr/>
          <p:nvPr userDrawn="1"/>
        </p:nvSpPr>
        <p:spPr bwMode="gray">
          <a:xfrm>
            <a:off x="0" y="2709862"/>
            <a:ext cx="6858000" cy="24336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760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176140" y="870887"/>
            <a:ext cx="5238253" cy="782763"/>
          </a:xfrm>
        </p:spPr>
        <p:txBody>
          <a:bodyPr>
            <a:normAutofit/>
          </a:bodyPr>
          <a:lstStyle>
            <a:lvl1pPr algn="l">
              <a:lnSpc>
                <a:spcPts val="2138"/>
              </a:lnSpc>
              <a:defRPr sz="2025" b="1"/>
            </a:lvl1pPr>
          </a:lstStyle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175974" y="1707654"/>
            <a:ext cx="5240306" cy="702078"/>
          </a:xfrm>
        </p:spPr>
        <p:txBody>
          <a:bodyPr>
            <a:normAutofit/>
          </a:bodyPr>
          <a:lstStyle>
            <a:lvl1pPr marL="0" indent="0" algn="l">
              <a:lnSpc>
                <a:spcPts val="1575"/>
              </a:lnSpc>
              <a:spcBef>
                <a:spcPts val="0"/>
              </a:spcBef>
              <a:buNone/>
              <a:defRPr sz="1350">
                <a:solidFill>
                  <a:schemeClr val="tx1"/>
                </a:solidFill>
              </a:defRPr>
            </a:lvl1pPr>
            <a:lvl2pPr marL="2571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5143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771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285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5430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800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smtClean="0"/>
              <a:t>Klicka här för att ändra format på underrubrik i bakgrunden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260747" y="258367"/>
            <a:ext cx="602954" cy="602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031734" y="4197523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760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2427" y="3037053"/>
            <a:ext cx="6863152" cy="911999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760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5938" y="3360689"/>
            <a:ext cx="6871226" cy="1420614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760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3361735"/>
            <a:ext cx="6857998" cy="813476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760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3735" y="3252739"/>
            <a:ext cx="6860507" cy="1318214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760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7708" y="4474689"/>
            <a:ext cx="6868094" cy="242600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760"/>
          </a:p>
        </p:txBody>
      </p:sp>
    </p:spTree>
    <p:extLst>
      <p:ext uri="{BB962C8B-B14F-4D97-AF65-F5344CB8AC3E}">
        <p14:creationId xmlns:p14="http://schemas.microsoft.com/office/powerpoint/2010/main" val="11429629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/>
          <p:cNvSpPr>
            <a:spLocks noGrp="1"/>
          </p:cNvSpPr>
          <p:nvPr>
            <p:ph type="title"/>
          </p:nvPr>
        </p:nvSpPr>
        <p:spPr>
          <a:xfrm>
            <a:off x="1214437" y="303652"/>
            <a:ext cx="5201841" cy="501254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7" name="Platshållare för innehåll 2"/>
          <p:cNvSpPr>
            <a:spLocks noGrp="1"/>
          </p:cNvSpPr>
          <p:nvPr>
            <p:ph idx="1"/>
          </p:nvPr>
        </p:nvSpPr>
        <p:spPr>
          <a:xfrm>
            <a:off x="1214437" y="1187055"/>
            <a:ext cx="5201841" cy="3058715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4185084" y="4716382"/>
            <a:ext cx="1600200" cy="273844"/>
          </a:xfrm>
        </p:spPr>
        <p:txBody>
          <a:bodyPr/>
          <a:lstStyle>
            <a:lvl1pPr>
              <a:defRPr sz="619"/>
            </a:lvl1pPr>
          </a:lstStyle>
          <a:p>
            <a:fld id="{CFCB38AA-14D0-4B67-BE5B-608C5A8A7489}" type="datetimeFigureOut">
              <a:rPr lang="sv-SE" smtClean="0"/>
              <a:pPr/>
              <a:t>2023-09-12</a:t>
            </a:fld>
            <a:endParaRPr lang="sv-SE"/>
          </a:p>
        </p:txBody>
      </p:sp>
      <p:sp>
        <p:nvSpPr>
          <p:cNvPr id="9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6129301" y="4726058"/>
            <a:ext cx="398897" cy="273844"/>
          </a:xfrm>
        </p:spPr>
        <p:txBody>
          <a:bodyPr/>
          <a:lstStyle>
            <a:lvl1pPr>
              <a:defRPr sz="619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214438" y="4758975"/>
            <a:ext cx="2171700" cy="273844"/>
          </a:xfrm>
        </p:spPr>
        <p:txBody>
          <a:bodyPr lIns="0" tIns="0" rIns="0" bIns="0" anchor="t"/>
          <a:lstStyle>
            <a:lvl1pPr algn="l">
              <a:lnSpc>
                <a:spcPts val="506"/>
              </a:lnSpc>
              <a:defRPr sz="619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5836925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214437" y="1187055"/>
            <a:ext cx="2484593" cy="3058715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3919538" y="1187055"/>
            <a:ext cx="2496741" cy="3058715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214437" y="303652"/>
            <a:ext cx="5201841" cy="501254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4185084" y="4716382"/>
            <a:ext cx="1600200" cy="273844"/>
          </a:xfrm>
        </p:spPr>
        <p:txBody>
          <a:bodyPr/>
          <a:lstStyle>
            <a:lvl1pPr>
              <a:defRPr sz="619"/>
            </a:lvl1pPr>
          </a:lstStyle>
          <a:p>
            <a:fld id="{CFCB38AA-14D0-4B67-BE5B-608C5A8A7489}" type="datetimeFigureOut">
              <a:rPr lang="sv-SE" smtClean="0"/>
              <a:pPr/>
              <a:t>2023-09-12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6129301" y="4726058"/>
            <a:ext cx="398897" cy="273844"/>
          </a:xfrm>
        </p:spPr>
        <p:txBody>
          <a:bodyPr/>
          <a:lstStyle>
            <a:lvl1pPr>
              <a:defRPr sz="619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214438" y="4758975"/>
            <a:ext cx="2171700" cy="273844"/>
          </a:xfrm>
        </p:spPr>
        <p:txBody>
          <a:bodyPr lIns="0" tIns="0" rIns="0" bIns="0" anchor="t"/>
          <a:lstStyle>
            <a:lvl1pPr algn="l">
              <a:lnSpc>
                <a:spcPts val="506"/>
              </a:lnSpc>
              <a:defRPr sz="619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9736385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214437" y="1187055"/>
            <a:ext cx="2484593" cy="3058715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8" name="Platshållare för diagram 7"/>
          <p:cNvSpPr>
            <a:spLocks noGrp="1"/>
          </p:cNvSpPr>
          <p:nvPr>
            <p:ph type="chart" sz="quarter" idx="13"/>
          </p:nvPr>
        </p:nvSpPr>
        <p:spPr>
          <a:xfrm>
            <a:off x="3919538" y="1187056"/>
            <a:ext cx="2496741" cy="3058715"/>
          </a:xfrm>
        </p:spPr>
        <p:txBody>
          <a:bodyPr>
            <a:normAutofit/>
          </a:bodyPr>
          <a:lstStyle>
            <a:lvl1pPr>
              <a:defRPr sz="788"/>
            </a:lvl1pPr>
          </a:lstStyle>
          <a:p>
            <a:r>
              <a:rPr lang="sv-SE" smtClean="0"/>
              <a:t>Klicka på ikonen för att lägga till ett diagram</a:t>
            </a:r>
            <a:endParaRPr lang="en-GB"/>
          </a:p>
        </p:txBody>
      </p:sp>
      <p:sp>
        <p:nvSpPr>
          <p:cNvPr id="9" name="Rubrik 1"/>
          <p:cNvSpPr>
            <a:spLocks noGrp="1"/>
          </p:cNvSpPr>
          <p:nvPr>
            <p:ph type="title"/>
          </p:nvPr>
        </p:nvSpPr>
        <p:spPr>
          <a:xfrm>
            <a:off x="1214437" y="303652"/>
            <a:ext cx="5201841" cy="501254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4185084" y="4716382"/>
            <a:ext cx="1600200" cy="273844"/>
          </a:xfrm>
        </p:spPr>
        <p:txBody>
          <a:bodyPr/>
          <a:lstStyle>
            <a:lvl1pPr>
              <a:defRPr sz="619"/>
            </a:lvl1pPr>
          </a:lstStyle>
          <a:p>
            <a:fld id="{CFCB38AA-14D0-4B67-BE5B-608C5A8A7489}" type="datetimeFigureOut">
              <a:rPr lang="sv-SE" smtClean="0"/>
              <a:pPr/>
              <a:t>2023-09-12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6129301" y="4726058"/>
            <a:ext cx="398897" cy="273844"/>
          </a:xfrm>
        </p:spPr>
        <p:txBody>
          <a:bodyPr/>
          <a:lstStyle>
            <a:lvl1pPr>
              <a:defRPr sz="619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214438" y="4758975"/>
            <a:ext cx="2171700" cy="273844"/>
          </a:xfrm>
        </p:spPr>
        <p:txBody>
          <a:bodyPr lIns="0" tIns="0" rIns="0" bIns="0" anchor="t"/>
          <a:lstStyle>
            <a:lvl1pPr algn="l">
              <a:lnSpc>
                <a:spcPts val="506"/>
              </a:lnSpc>
              <a:defRPr sz="619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5749420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4867EB2-FC4F-C74D-A230-89D6B972781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527FB4B-7893-4946-9C41-FB1EB79145A0}" type="slidenum">
              <a:rPr lang="sv-SE" smtClean="0"/>
              <a:t>‹#›</a:t>
            </a:fld>
            <a:endParaRPr lang="sv-SE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DB11DE9-DED4-0140-852D-916C42F20E0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460AAD98-60E6-C741-A55B-250577B7D90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A612C29-4FF1-4A4F-A907-03CBB0EDED27}" type="datetime1">
              <a:rPr lang="sv-SE" smtClean="0"/>
              <a:t>2023-09-12</a:t>
            </a:fld>
            <a:endParaRPr lang="sv-SE"/>
          </a:p>
        </p:txBody>
      </p:sp>
      <p:sp>
        <p:nvSpPr>
          <p:cNvPr id="11" name="Platshållare för innehåll 10">
            <a:extLst>
              <a:ext uri="{FF2B5EF4-FFF2-40B4-BE49-F238E27FC236}">
                <a16:creationId xmlns:a16="http://schemas.microsoft.com/office/drawing/2014/main" id="{C55E1E5B-E1F9-C645-91AF-7753BF8D8EB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174750" y="1177924"/>
            <a:ext cx="5434850" cy="3556075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" name="Rubrik 1">
            <a:extLst>
              <a:ext uri="{FF2B5EF4-FFF2-40B4-BE49-F238E27FC236}">
                <a16:creationId xmlns:a16="http://schemas.microsoft.com/office/drawing/2014/main" id="{D7D5F619-51D2-42FE-AF00-80BF2FDDE4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583001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3919538" y="1187055"/>
            <a:ext cx="2496741" cy="3058715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214438" y="1187055"/>
            <a:ext cx="2496741" cy="3058715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10" name="Rubrik 1"/>
          <p:cNvSpPr>
            <a:spLocks noGrp="1"/>
          </p:cNvSpPr>
          <p:nvPr>
            <p:ph type="title"/>
          </p:nvPr>
        </p:nvSpPr>
        <p:spPr>
          <a:xfrm>
            <a:off x="1214437" y="303652"/>
            <a:ext cx="5201841" cy="501254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11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4185084" y="4716382"/>
            <a:ext cx="1600200" cy="273844"/>
          </a:xfrm>
        </p:spPr>
        <p:txBody>
          <a:bodyPr/>
          <a:lstStyle>
            <a:lvl1pPr>
              <a:defRPr sz="619"/>
            </a:lvl1pPr>
          </a:lstStyle>
          <a:p>
            <a:fld id="{CFCB38AA-14D0-4B67-BE5B-608C5A8A7489}" type="datetimeFigureOut">
              <a:rPr lang="sv-SE" smtClean="0"/>
              <a:pPr/>
              <a:t>2023-09-12</a:t>
            </a:fld>
            <a:endParaRPr lang="sv-SE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6129301" y="4726058"/>
            <a:ext cx="398897" cy="273844"/>
          </a:xfrm>
        </p:spPr>
        <p:txBody>
          <a:bodyPr/>
          <a:lstStyle>
            <a:lvl1pPr>
              <a:defRPr sz="619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214438" y="4758975"/>
            <a:ext cx="2171700" cy="273844"/>
          </a:xfrm>
        </p:spPr>
        <p:txBody>
          <a:bodyPr lIns="0" tIns="0" rIns="0" bIns="0" anchor="t"/>
          <a:lstStyle>
            <a:lvl1pPr algn="l">
              <a:lnSpc>
                <a:spcPts val="506"/>
              </a:lnSpc>
              <a:defRPr sz="619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6356927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-7980" y="1187054"/>
            <a:ext cx="6906320" cy="3535394"/>
          </a:xfrm>
          <a:custGeom>
            <a:avLst/>
            <a:gdLst>
              <a:gd name="connsiteX0" fmla="*/ 708568 w 9144000"/>
              <a:gd name="connsiteY0" fmla="*/ 0 h 4251325"/>
              <a:gd name="connsiteX1" fmla="*/ 9144000 w 9144000"/>
              <a:gd name="connsiteY1" fmla="*/ 0 h 4251325"/>
              <a:gd name="connsiteX2" fmla="*/ 9144000 w 9144000"/>
              <a:gd name="connsiteY2" fmla="*/ 0 h 4251325"/>
              <a:gd name="connsiteX3" fmla="*/ 9144000 w 9144000"/>
              <a:gd name="connsiteY3" fmla="*/ 3542757 h 4251325"/>
              <a:gd name="connsiteX4" fmla="*/ 8435432 w 9144000"/>
              <a:gd name="connsiteY4" fmla="*/ 4251325 h 4251325"/>
              <a:gd name="connsiteX5" fmla="*/ 0 w 9144000"/>
              <a:gd name="connsiteY5" fmla="*/ 4251325 h 4251325"/>
              <a:gd name="connsiteX6" fmla="*/ 0 w 9144000"/>
              <a:gd name="connsiteY6" fmla="*/ 4251325 h 4251325"/>
              <a:gd name="connsiteX7" fmla="*/ 0 w 9144000"/>
              <a:gd name="connsiteY7" fmla="*/ 708568 h 4251325"/>
              <a:gd name="connsiteX8" fmla="*/ 708568 w 9144000"/>
              <a:gd name="connsiteY8" fmla="*/ 0 h 4251325"/>
              <a:gd name="connsiteX0" fmla="*/ 180030 w 9301262"/>
              <a:gd name="connsiteY0" fmla="*/ 0 h 4260850"/>
              <a:gd name="connsiteX1" fmla="*/ 9301262 w 9301262"/>
              <a:gd name="connsiteY1" fmla="*/ 9525 h 4260850"/>
              <a:gd name="connsiteX2" fmla="*/ 9301262 w 9301262"/>
              <a:gd name="connsiteY2" fmla="*/ 9525 h 4260850"/>
              <a:gd name="connsiteX3" fmla="*/ 9301262 w 9301262"/>
              <a:gd name="connsiteY3" fmla="*/ 3552282 h 4260850"/>
              <a:gd name="connsiteX4" fmla="*/ 8592694 w 9301262"/>
              <a:gd name="connsiteY4" fmla="*/ 4260850 h 4260850"/>
              <a:gd name="connsiteX5" fmla="*/ 157262 w 9301262"/>
              <a:gd name="connsiteY5" fmla="*/ 4260850 h 4260850"/>
              <a:gd name="connsiteX6" fmla="*/ 157262 w 9301262"/>
              <a:gd name="connsiteY6" fmla="*/ 4260850 h 4260850"/>
              <a:gd name="connsiteX7" fmla="*/ 157262 w 9301262"/>
              <a:gd name="connsiteY7" fmla="*/ 718093 h 4260850"/>
              <a:gd name="connsiteX8" fmla="*/ 180030 w 9301262"/>
              <a:gd name="connsiteY8" fmla="*/ 0 h 4260850"/>
              <a:gd name="connsiteX0" fmla="*/ 23406 w 9144638"/>
              <a:gd name="connsiteY0" fmla="*/ 0 h 4260850"/>
              <a:gd name="connsiteX1" fmla="*/ 9144638 w 9144638"/>
              <a:gd name="connsiteY1" fmla="*/ 9525 h 4260850"/>
              <a:gd name="connsiteX2" fmla="*/ 9144638 w 9144638"/>
              <a:gd name="connsiteY2" fmla="*/ 9525 h 4260850"/>
              <a:gd name="connsiteX3" fmla="*/ 9144638 w 9144638"/>
              <a:gd name="connsiteY3" fmla="*/ 3552282 h 4260850"/>
              <a:gd name="connsiteX4" fmla="*/ 8436070 w 9144638"/>
              <a:gd name="connsiteY4" fmla="*/ 4260850 h 4260850"/>
              <a:gd name="connsiteX5" fmla="*/ 638 w 9144638"/>
              <a:gd name="connsiteY5" fmla="*/ 4260850 h 4260850"/>
              <a:gd name="connsiteX6" fmla="*/ 638 w 9144638"/>
              <a:gd name="connsiteY6" fmla="*/ 4260850 h 4260850"/>
              <a:gd name="connsiteX7" fmla="*/ 638 w 9144638"/>
              <a:gd name="connsiteY7" fmla="*/ 718093 h 4260850"/>
              <a:gd name="connsiteX8" fmla="*/ 23406 w 9144638"/>
              <a:gd name="connsiteY8" fmla="*/ 0 h 4260850"/>
              <a:gd name="connsiteX0" fmla="*/ 11705 w 9161512"/>
              <a:gd name="connsiteY0" fmla="*/ 9525 h 4251325"/>
              <a:gd name="connsiteX1" fmla="*/ 9161512 w 9161512"/>
              <a:gd name="connsiteY1" fmla="*/ 0 h 4251325"/>
              <a:gd name="connsiteX2" fmla="*/ 9161512 w 9161512"/>
              <a:gd name="connsiteY2" fmla="*/ 0 h 4251325"/>
              <a:gd name="connsiteX3" fmla="*/ 9161512 w 9161512"/>
              <a:gd name="connsiteY3" fmla="*/ 3542757 h 4251325"/>
              <a:gd name="connsiteX4" fmla="*/ 8452944 w 9161512"/>
              <a:gd name="connsiteY4" fmla="*/ 4251325 h 4251325"/>
              <a:gd name="connsiteX5" fmla="*/ 17512 w 9161512"/>
              <a:gd name="connsiteY5" fmla="*/ 4251325 h 4251325"/>
              <a:gd name="connsiteX6" fmla="*/ 17512 w 9161512"/>
              <a:gd name="connsiteY6" fmla="*/ 4251325 h 4251325"/>
              <a:gd name="connsiteX7" fmla="*/ 17512 w 9161512"/>
              <a:gd name="connsiteY7" fmla="*/ 708568 h 4251325"/>
              <a:gd name="connsiteX8" fmla="*/ 11705 w 9161512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8441308 w 9149876"/>
              <a:gd name="connsiteY4" fmla="*/ 42513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1316608 w 9149876"/>
              <a:gd name="connsiteY4" fmla="*/ 39465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542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23432 w 9156700"/>
              <a:gd name="connsiteY4" fmla="*/ 39465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0 w 9156700"/>
              <a:gd name="connsiteY6" fmla="*/ 4270375 h 4270375"/>
              <a:gd name="connsiteX7" fmla="*/ 12700 w 9156700"/>
              <a:gd name="connsiteY7" fmla="*/ 708568 h 4270375"/>
              <a:gd name="connsiteX8" fmla="*/ 6893 w 9156700"/>
              <a:gd name="connsiteY8" fmla="*/ 9525 h 427037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084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211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57675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13243 w 9163050"/>
              <a:gd name="connsiteY0" fmla="*/ 9525 h 4295946"/>
              <a:gd name="connsiteX1" fmla="*/ 9163050 w 9163050"/>
              <a:gd name="connsiteY1" fmla="*/ 0 h 4295946"/>
              <a:gd name="connsiteX2" fmla="*/ 9163050 w 9163050"/>
              <a:gd name="connsiteY2" fmla="*/ 0 h 4295946"/>
              <a:gd name="connsiteX3" fmla="*/ 9163050 w 9163050"/>
              <a:gd name="connsiteY3" fmla="*/ 3923757 h 4295946"/>
              <a:gd name="connsiteX4" fmla="*/ 1348832 w 9163050"/>
              <a:gd name="connsiteY4" fmla="*/ 3921125 h 4295946"/>
              <a:gd name="connsiteX5" fmla="*/ 1209675 w 9163050"/>
              <a:gd name="connsiteY5" fmla="*/ 4283160 h 4295946"/>
              <a:gd name="connsiteX6" fmla="*/ 0 w 9163050"/>
              <a:gd name="connsiteY6" fmla="*/ 4295946 h 4295946"/>
              <a:gd name="connsiteX7" fmla="*/ 19050 w 9163050"/>
              <a:gd name="connsiteY7" fmla="*/ 708568 h 4295946"/>
              <a:gd name="connsiteX8" fmla="*/ 13243 w 9163050"/>
              <a:gd name="connsiteY8" fmla="*/ 9525 h 4295946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1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2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30693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59604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6812"/>
              <a:gd name="connsiteX1" fmla="*/ 9156700 w 9156700"/>
              <a:gd name="connsiteY1" fmla="*/ 0 h 4276812"/>
              <a:gd name="connsiteX2" fmla="*/ 9156700 w 9156700"/>
              <a:gd name="connsiteY2" fmla="*/ 0 h 4276812"/>
              <a:gd name="connsiteX3" fmla="*/ 9156700 w 9156700"/>
              <a:gd name="connsiteY3" fmla="*/ 3923757 h 4276812"/>
              <a:gd name="connsiteX4" fmla="*/ 1342482 w 9156700"/>
              <a:gd name="connsiteY4" fmla="*/ 3959604 h 4276812"/>
              <a:gd name="connsiteX5" fmla="*/ 1203325 w 9156700"/>
              <a:gd name="connsiteY5" fmla="*/ 4267882 h 4276812"/>
              <a:gd name="connsiteX6" fmla="*/ 0 w 9156700"/>
              <a:gd name="connsiteY6" fmla="*/ 4276812 h 4276812"/>
              <a:gd name="connsiteX7" fmla="*/ 12700 w 9156700"/>
              <a:gd name="connsiteY7" fmla="*/ 708568 h 4276812"/>
              <a:gd name="connsiteX8" fmla="*/ 6893 w 9156700"/>
              <a:gd name="connsiteY8" fmla="*/ 9525 h 427681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69276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54641"/>
              <a:gd name="connsiteY0" fmla="*/ 9525 h 4267882"/>
              <a:gd name="connsiteX1" fmla="*/ 9149876 w 9154641"/>
              <a:gd name="connsiteY1" fmla="*/ 0 h 4267882"/>
              <a:gd name="connsiteX2" fmla="*/ 9149876 w 9154641"/>
              <a:gd name="connsiteY2" fmla="*/ 0 h 4267882"/>
              <a:gd name="connsiteX3" fmla="*/ 9154641 w 9154641"/>
              <a:gd name="connsiteY3" fmla="*/ 3952802 h 4267882"/>
              <a:gd name="connsiteX4" fmla="*/ 1338039 w 9154641"/>
              <a:gd name="connsiteY4" fmla="*/ 3954857 h 4267882"/>
              <a:gd name="connsiteX5" fmla="*/ 1196501 w 9154641"/>
              <a:gd name="connsiteY5" fmla="*/ 4267882 h 4267882"/>
              <a:gd name="connsiteX6" fmla="*/ 2701 w 9154641"/>
              <a:gd name="connsiteY6" fmla="*/ 4264722 h 4267882"/>
              <a:gd name="connsiteX7" fmla="*/ 5876 w 9154641"/>
              <a:gd name="connsiteY7" fmla="*/ 708568 h 4267882"/>
              <a:gd name="connsiteX8" fmla="*/ 69 w 9154641"/>
              <a:gd name="connsiteY8" fmla="*/ 9525 h 4267882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9702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174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0600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7847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19844 w 9150032"/>
              <a:gd name="connsiteY4" fmla="*/ 3967847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5 w 9150032"/>
              <a:gd name="connsiteY4" fmla="*/ 3960599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3115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3115 w 9150032"/>
              <a:gd name="connsiteY5" fmla="*/ 4275168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4831"/>
              <a:gd name="connsiteX1" fmla="*/ 9149876 w 9150032"/>
              <a:gd name="connsiteY1" fmla="*/ 9702 h 4284831"/>
              <a:gd name="connsiteX2" fmla="*/ 9149876 w 9150032"/>
              <a:gd name="connsiteY2" fmla="*/ 89 h 4284831"/>
              <a:gd name="connsiteX3" fmla="*/ 9141983 w 9150032"/>
              <a:gd name="connsiteY3" fmla="*/ 3960138 h 4284831"/>
              <a:gd name="connsiteX4" fmla="*/ 1326965 w 9150032"/>
              <a:gd name="connsiteY4" fmla="*/ 3960599 h 4284831"/>
              <a:gd name="connsiteX5" fmla="*/ 1210742 w 9150032"/>
              <a:gd name="connsiteY5" fmla="*/ 4284831 h 4284831"/>
              <a:gd name="connsiteX6" fmla="*/ 2701 w 9150032"/>
              <a:gd name="connsiteY6" fmla="*/ 4279257 h 4284831"/>
              <a:gd name="connsiteX7" fmla="*/ 5876 w 9150032"/>
              <a:gd name="connsiteY7" fmla="*/ 718270 h 4284831"/>
              <a:gd name="connsiteX8" fmla="*/ 69 w 9150032"/>
              <a:gd name="connsiteY8" fmla="*/ 0 h 4284831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4089"/>
              <a:gd name="connsiteX1" fmla="*/ 9149876 w 9150032"/>
              <a:gd name="connsiteY1" fmla="*/ 9702 h 4284089"/>
              <a:gd name="connsiteX2" fmla="*/ 9149876 w 9150032"/>
              <a:gd name="connsiteY2" fmla="*/ 89 h 4284089"/>
              <a:gd name="connsiteX3" fmla="*/ 9141983 w 9150032"/>
              <a:gd name="connsiteY3" fmla="*/ 3960138 h 4284089"/>
              <a:gd name="connsiteX4" fmla="*/ 1326965 w 9150032"/>
              <a:gd name="connsiteY4" fmla="*/ 3960599 h 4284089"/>
              <a:gd name="connsiteX5" fmla="*/ 1213116 w 9150032"/>
              <a:gd name="connsiteY5" fmla="*/ 4282416 h 4284089"/>
              <a:gd name="connsiteX6" fmla="*/ 2701 w 9150032"/>
              <a:gd name="connsiteY6" fmla="*/ 4284089 h 4284089"/>
              <a:gd name="connsiteX7" fmla="*/ 5876 w 9150032"/>
              <a:gd name="connsiteY7" fmla="*/ 718270 h 4284089"/>
              <a:gd name="connsiteX8" fmla="*/ 69 w 9150032"/>
              <a:gd name="connsiteY8" fmla="*/ 0 h 4284089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5075 w 9150032"/>
              <a:gd name="connsiteY6" fmla="*/ 4281672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5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2219 w 9150032"/>
              <a:gd name="connsiteY4" fmla="*/ 3970263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7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31714 w 9150006"/>
              <a:gd name="connsiteY4" fmla="*/ 3963015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17134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07470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5733 w 9150006"/>
              <a:gd name="connsiteY5" fmla="*/ 4005054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3360 w 9150006"/>
              <a:gd name="connsiteY5" fmla="*/ 4002638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213854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196100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65541"/>
              <a:gd name="connsiteX1" fmla="*/ 9150613 w 9152201"/>
              <a:gd name="connsiteY1" fmla="*/ 9702 h 4265541"/>
              <a:gd name="connsiteX2" fmla="*/ 9150613 w 9152201"/>
              <a:gd name="connsiteY2" fmla="*/ 89 h 4265541"/>
              <a:gd name="connsiteX3" fmla="*/ 9140347 w 9152201"/>
              <a:gd name="connsiteY3" fmla="*/ 3967387 h 4265541"/>
              <a:gd name="connsiteX4" fmla="*/ 1344317 w 9152201"/>
              <a:gd name="connsiteY4" fmla="*/ 3963016 h 4265541"/>
              <a:gd name="connsiteX5" fmla="*/ 1269350 w 9152201"/>
              <a:gd name="connsiteY5" fmla="*/ 4009885 h 4265541"/>
              <a:gd name="connsiteX6" fmla="*/ 1262230 w 9152201"/>
              <a:gd name="connsiteY6" fmla="*/ 4220084 h 4265541"/>
              <a:gd name="connsiteX7" fmla="*/ 1196100 w 9152201"/>
              <a:gd name="connsiteY7" fmla="*/ 4258492 h 4265541"/>
              <a:gd name="connsiteX8" fmla="*/ 4376 w 9152201"/>
              <a:gd name="connsiteY8" fmla="*/ 4265541 h 4265541"/>
              <a:gd name="connsiteX9" fmla="*/ 6613 w 9152201"/>
              <a:gd name="connsiteY9" fmla="*/ 718270 h 4265541"/>
              <a:gd name="connsiteX10" fmla="*/ 806 w 9152201"/>
              <a:gd name="connsiteY10" fmla="*/ 0 h 4265541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75580"/>
              <a:gd name="connsiteX1" fmla="*/ 9150613 w 9152201"/>
              <a:gd name="connsiteY1" fmla="*/ 9702 h 4275580"/>
              <a:gd name="connsiteX2" fmla="*/ 9150613 w 9152201"/>
              <a:gd name="connsiteY2" fmla="*/ 89 h 4275580"/>
              <a:gd name="connsiteX3" fmla="*/ 9140347 w 9152201"/>
              <a:gd name="connsiteY3" fmla="*/ 3967387 h 4275580"/>
              <a:gd name="connsiteX4" fmla="*/ 1344317 w 9152201"/>
              <a:gd name="connsiteY4" fmla="*/ 3963016 h 4275580"/>
              <a:gd name="connsiteX5" fmla="*/ 1269350 w 9152201"/>
              <a:gd name="connsiteY5" fmla="*/ 4009885 h 4275580"/>
              <a:gd name="connsiteX6" fmla="*/ 1262230 w 9152201"/>
              <a:gd name="connsiteY6" fmla="*/ 4220084 h 4275580"/>
              <a:gd name="connsiteX7" fmla="*/ 1173736 w 9152201"/>
              <a:gd name="connsiteY7" fmla="*/ 4268653 h 4275580"/>
              <a:gd name="connsiteX8" fmla="*/ 4376 w 9152201"/>
              <a:gd name="connsiteY8" fmla="*/ 4265541 h 4275580"/>
              <a:gd name="connsiteX9" fmla="*/ 6613 w 9152201"/>
              <a:gd name="connsiteY9" fmla="*/ 718270 h 4275580"/>
              <a:gd name="connsiteX10" fmla="*/ 806 w 9152201"/>
              <a:gd name="connsiteY10" fmla="*/ 0 h 4275580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90821"/>
              <a:gd name="connsiteX1" fmla="*/ 9150613 w 9152201"/>
              <a:gd name="connsiteY1" fmla="*/ 9702 h 4290821"/>
              <a:gd name="connsiteX2" fmla="*/ 9150613 w 9152201"/>
              <a:gd name="connsiteY2" fmla="*/ 89 h 4290821"/>
              <a:gd name="connsiteX3" fmla="*/ 9140347 w 9152201"/>
              <a:gd name="connsiteY3" fmla="*/ 3967387 h 4290821"/>
              <a:gd name="connsiteX4" fmla="*/ 1344317 w 9152201"/>
              <a:gd name="connsiteY4" fmla="*/ 3963016 h 4290821"/>
              <a:gd name="connsiteX5" fmla="*/ 1269350 w 9152201"/>
              <a:gd name="connsiteY5" fmla="*/ 4009885 h 4290821"/>
              <a:gd name="connsiteX6" fmla="*/ 1262230 w 9152201"/>
              <a:gd name="connsiteY6" fmla="*/ 4220084 h 4290821"/>
              <a:gd name="connsiteX7" fmla="*/ 1173736 w 9152201"/>
              <a:gd name="connsiteY7" fmla="*/ 4268653 h 4290821"/>
              <a:gd name="connsiteX8" fmla="*/ 4376 w 9152201"/>
              <a:gd name="connsiteY8" fmla="*/ 4265541 h 4290821"/>
              <a:gd name="connsiteX9" fmla="*/ 6613 w 9152201"/>
              <a:gd name="connsiteY9" fmla="*/ 718270 h 4290821"/>
              <a:gd name="connsiteX10" fmla="*/ 806 w 9152201"/>
              <a:gd name="connsiteY10" fmla="*/ 0 h 4290821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4376 w 9152201"/>
              <a:gd name="connsiteY8" fmla="*/ 4265541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2201"/>
              <a:gd name="connsiteY0" fmla="*/ 0 h 4275702"/>
              <a:gd name="connsiteX1" fmla="*/ 9150613 w 9152201"/>
              <a:gd name="connsiteY1" fmla="*/ 9702 h 4275702"/>
              <a:gd name="connsiteX2" fmla="*/ 9150613 w 9152201"/>
              <a:gd name="connsiteY2" fmla="*/ 89 h 4275702"/>
              <a:gd name="connsiteX3" fmla="*/ 9140347 w 9152201"/>
              <a:gd name="connsiteY3" fmla="*/ 3967387 h 4275702"/>
              <a:gd name="connsiteX4" fmla="*/ 1344317 w 9152201"/>
              <a:gd name="connsiteY4" fmla="*/ 3963016 h 4275702"/>
              <a:gd name="connsiteX5" fmla="*/ 1269350 w 9152201"/>
              <a:gd name="connsiteY5" fmla="*/ 4009885 h 4275702"/>
              <a:gd name="connsiteX6" fmla="*/ 1262230 w 9152201"/>
              <a:gd name="connsiteY6" fmla="*/ 4220084 h 4275702"/>
              <a:gd name="connsiteX7" fmla="*/ 1173736 w 9152201"/>
              <a:gd name="connsiteY7" fmla="*/ 4268653 h 4275702"/>
              <a:gd name="connsiteX8" fmla="*/ 0 w 9152201"/>
              <a:gd name="connsiteY8" fmla="*/ 4275702 h 4275702"/>
              <a:gd name="connsiteX9" fmla="*/ 6613 w 9152201"/>
              <a:gd name="connsiteY9" fmla="*/ 718270 h 4275702"/>
              <a:gd name="connsiteX10" fmla="*/ 806 w 9152201"/>
              <a:gd name="connsiteY10" fmla="*/ 0 h 4275702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0 w 9152201"/>
              <a:gd name="connsiteY8" fmla="*/ 4265542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45123 w 9153007"/>
              <a:gd name="connsiteY4" fmla="*/ 396301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39531 w 9153007"/>
              <a:gd name="connsiteY4" fmla="*/ 3968097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1134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4881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67917"/>
              <a:gd name="connsiteY0" fmla="*/ 0 h 4276230"/>
              <a:gd name="connsiteX1" fmla="*/ 9151419 w 9167917"/>
              <a:gd name="connsiteY1" fmla="*/ 9702 h 4276230"/>
              <a:gd name="connsiteX2" fmla="*/ 9151419 w 9167917"/>
              <a:gd name="connsiteY2" fmla="*/ 89 h 4276230"/>
              <a:gd name="connsiteX3" fmla="*/ 9167917 w 9167917"/>
              <a:gd name="connsiteY3" fmla="*/ 3974881 h 4276230"/>
              <a:gd name="connsiteX4" fmla="*/ 1352489 w 9167917"/>
              <a:gd name="connsiteY4" fmla="*/ 3975946 h 4276230"/>
              <a:gd name="connsiteX5" fmla="*/ 1270156 w 9167917"/>
              <a:gd name="connsiteY5" fmla="*/ 4009885 h 4276230"/>
              <a:gd name="connsiteX6" fmla="*/ 1263036 w 9167917"/>
              <a:gd name="connsiteY6" fmla="*/ 4220084 h 4276230"/>
              <a:gd name="connsiteX7" fmla="*/ 1174542 w 9167917"/>
              <a:gd name="connsiteY7" fmla="*/ 4268653 h 4276230"/>
              <a:gd name="connsiteX8" fmla="*/ 806 w 9167917"/>
              <a:gd name="connsiteY8" fmla="*/ 4265543 h 4276230"/>
              <a:gd name="connsiteX9" fmla="*/ 7419 w 9167917"/>
              <a:gd name="connsiteY9" fmla="*/ 718270 h 4276230"/>
              <a:gd name="connsiteX10" fmla="*/ 806 w 9167917"/>
              <a:gd name="connsiteY10" fmla="*/ 0 h 4276230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6 w 9167917"/>
              <a:gd name="connsiteY8" fmla="*/ 4250555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90722 w 9257833"/>
              <a:gd name="connsiteY0" fmla="*/ 0 h 4268653"/>
              <a:gd name="connsiteX1" fmla="*/ 9241335 w 9257833"/>
              <a:gd name="connsiteY1" fmla="*/ 9702 h 4268653"/>
              <a:gd name="connsiteX2" fmla="*/ 9241335 w 9257833"/>
              <a:gd name="connsiteY2" fmla="*/ 89 h 4268653"/>
              <a:gd name="connsiteX3" fmla="*/ 9257833 w 9257833"/>
              <a:gd name="connsiteY3" fmla="*/ 3974881 h 4268653"/>
              <a:gd name="connsiteX4" fmla="*/ 1442405 w 9257833"/>
              <a:gd name="connsiteY4" fmla="*/ 3975946 h 4268653"/>
              <a:gd name="connsiteX5" fmla="*/ 1360072 w 9257833"/>
              <a:gd name="connsiteY5" fmla="*/ 4009885 h 4268653"/>
              <a:gd name="connsiteX6" fmla="*/ 1352952 w 9257833"/>
              <a:gd name="connsiteY6" fmla="*/ 4220084 h 4268653"/>
              <a:gd name="connsiteX7" fmla="*/ 1264458 w 9257833"/>
              <a:gd name="connsiteY7" fmla="*/ 4268653 h 4268653"/>
              <a:gd name="connsiteX8" fmla="*/ 0 w 9257833"/>
              <a:gd name="connsiteY8" fmla="*/ 4246809 h 4268653"/>
              <a:gd name="connsiteX9" fmla="*/ 97335 w 9257833"/>
              <a:gd name="connsiteY9" fmla="*/ 718270 h 4268653"/>
              <a:gd name="connsiteX10" fmla="*/ 90722 w 9257833"/>
              <a:gd name="connsiteY10" fmla="*/ 0 h 4268653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7 w 9167917"/>
              <a:gd name="connsiteY8" fmla="*/ 4261796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70102 w 9237213"/>
              <a:gd name="connsiteY0" fmla="*/ 0 h 4273036"/>
              <a:gd name="connsiteX1" fmla="*/ 9220715 w 9237213"/>
              <a:gd name="connsiteY1" fmla="*/ 9702 h 4273036"/>
              <a:gd name="connsiteX2" fmla="*/ 9220715 w 9237213"/>
              <a:gd name="connsiteY2" fmla="*/ 89 h 4273036"/>
              <a:gd name="connsiteX3" fmla="*/ 9237213 w 9237213"/>
              <a:gd name="connsiteY3" fmla="*/ 3974881 h 4273036"/>
              <a:gd name="connsiteX4" fmla="*/ 1421785 w 9237213"/>
              <a:gd name="connsiteY4" fmla="*/ 3975946 h 4273036"/>
              <a:gd name="connsiteX5" fmla="*/ 1339452 w 9237213"/>
              <a:gd name="connsiteY5" fmla="*/ 4009885 h 4273036"/>
              <a:gd name="connsiteX6" fmla="*/ 1332332 w 9237213"/>
              <a:gd name="connsiteY6" fmla="*/ 4220084 h 4273036"/>
              <a:gd name="connsiteX7" fmla="*/ 1243838 w 9237213"/>
              <a:gd name="connsiteY7" fmla="*/ 4268653 h 4273036"/>
              <a:gd name="connsiteX8" fmla="*/ 0 w 9237213"/>
              <a:gd name="connsiteY8" fmla="*/ 4273036 h 4273036"/>
              <a:gd name="connsiteX9" fmla="*/ 76715 w 9237213"/>
              <a:gd name="connsiteY9" fmla="*/ 718270 h 4273036"/>
              <a:gd name="connsiteX10" fmla="*/ 70102 w 9237213"/>
              <a:gd name="connsiteY10" fmla="*/ 0 h 4273036"/>
              <a:gd name="connsiteX0" fmla="*/ 53607 w 9220718"/>
              <a:gd name="connsiteY0" fmla="*/ 0 h 4268653"/>
              <a:gd name="connsiteX1" fmla="*/ 9204220 w 9220718"/>
              <a:gd name="connsiteY1" fmla="*/ 9702 h 4268653"/>
              <a:gd name="connsiteX2" fmla="*/ 9204220 w 9220718"/>
              <a:gd name="connsiteY2" fmla="*/ 89 h 4268653"/>
              <a:gd name="connsiteX3" fmla="*/ 9220718 w 9220718"/>
              <a:gd name="connsiteY3" fmla="*/ 3974881 h 4268653"/>
              <a:gd name="connsiteX4" fmla="*/ 1405290 w 9220718"/>
              <a:gd name="connsiteY4" fmla="*/ 3975946 h 4268653"/>
              <a:gd name="connsiteX5" fmla="*/ 1322957 w 9220718"/>
              <a:gd name="connsiteY5" fmla="*/ 4009885 h 4268653"/>
              <a:gd name="connsiteX6" fmla="*/ 1315837 w 9220718"/>
              <a:gd name="connsiteY6" fmla="*/ 4220084 h 4268653"/>
              <a:gd name="connsiteX7" fmla="*/ 1227343 w 9220718"/>
              <a:gd name="connsiteY7" fmla="*/ 4268653 h 4268653"/>
              <a:gd name="connsiteX8" fmla="*/ 0 w 9220718"/>
              <a:gd name="connsiteY8" fmla="*/ 4265542 h 4268653"/>
              <a:gd name="connsiteX9" fmla="*/ 60220 w 9220718"/>
              <a:gd name="connsiteY9" fmla="*/ 718270 h 4268653"/>
              <a:gd name="connsiteX10" fmla="*/ 53607 w 9220718"/>
              <a:gd name="connsiteY10" fmla="*/ 0 h 4268653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27343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06724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17785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1084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8 w 9220718"/>
              <a:gd name="connsiteY0" fmla="*/ 0 h 4271068"/>
              <a:gd name="connsiteX1" fmla="*/ 9204220 w 9220718"/>
              <a:gd name="connsiteY1" fmla="*/ 9701 h 4271068"/>
              <a:gd name="connsiteX2" fmla="*/ 9204220 w 9220718"/>
              <a:gd name="connsiteY2" fmla="*/ 88 h 4271068"/>
              <a:gd name="connsiteX3" fmla="*/ 9220718 w 9220718"/>
              <a:gd name="connsiteY3" fmla="*/ 3974880 h 4271068"/>
              <a:gd name="connsiteX4" fmla="*/ 1405290 w 9220718"/>
              <a:gd name="connsiteY4" fmla="*/ 3975945 h 4271068"/>
              <a:gd name="connsiteX5" fmla="*/ 1322957 w 9220718"/>
              <a:gd name="connsiteY5" fmla="*/ 4009884 h 4271068"/>
              <a:gd name="connsiteX6" fmla="*/ 1315837 w 9220718"/>
              <a:gd name="connsiteY6" fmla="*/ 4220083 h 4271068"/>
              <a:gd name="connsiteX7" fmla="*/ 1210847 w 9220718"/>
              <a:gd name="connsiteY7" fmla="*/ 4268652 h 4271068"/>
              <a:gd name="connsiteX8" fmla="*/ 0 w 9220718"/>
              <a:gd name="connsiteY8" fmla="*/ 4265541 h 4271068"/>
              <a:gd name="connsiteX9" fmla="*/ 60220 w 9220718"/>
              <a:gd name="connsiteY9" fmla="*/ 718269 h 4271068"/>
              <a:gd name="connsiteX10" fmla="*/ 53608 w 9220718"/>
              <a:gd name="connsiteY10" fmla="*/ 0 h 4271068"/>
              <a:gd name="connsiteX0" fmla="*/ 92467 w 9259577"/>
              <a:gd name="connsiteY0" fmla="*/ 0 h 4271068"/>
              <a:gd name="connsiteX1" fmla="*/ 9243079 w 9259577"/>
              <a:gd name="connsiteY1" fmla="*/ 9701 h 4271068"/>
              <a:gd name="connsiteX2" fmla="*/ 9243079 w 9259577"/>
              <a:gd name="connsiteY2" fmla="*/ 88 h 4271068"/>
              <a:gd name="connsiteX3" fmla="*/ 9259577 w 9259577"/>
              <a:gd name="connsiteY3" fmla="*/ 3974880 h 4271068"/>
              <a:gd name="connsiteX4" fmla="*/ 1444149 w 9259577"/>
              <a:gd name="connsiteY4" fmla="*/ 3975945 h 4271068"/>
              <a:gd name="connsiteX5" fmla="*/ 1361816 w 9259577"/>
              <a:gd name="connsiteY5" fmla="*/ 4009884 h 4271068"/>
              <a:gd name="connsiteX6" fmla="*/ 1354696 w 9259577"/>
              <a:gd name="connsiteY6" fmla="*/ 4220083 h 4271068"/>
              <a:gd name="connsiteX7" fmla="*/ 1249706 w 9259577"/>
              <a:gd name="connsiteY7" fmla="*/ 4268652 h 4271068"/>
              <a:gd name="connsiteX8" fmla="*/ 38859 w 9259577"/>
              <a:gd name="connsiteY8" fmla="*/ 4265541 h 4271068"/>
              <a:gd name="connsiteX9" fmla="*/ 4233 w 9259577"/>
              <a:gd name="connsiteY9" fmla="*/ 718269 h 4271068"/>
              <a:gd name="connsiteX10" fmla="*/ 92467 w 9259577"/>
              <a:gd name="connsiteY10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246481 w 9413591"/>
              <a:gd name="connsiteY0" fmla="*/ 0 h 4271068"/>
              <a:gd name="connsiteX1" fmla="*/ 9397093 w 9413591"/>
              <a:gd name="connsiteY1" fmla="*/ 9701 h 4271068"/>
              <a:gd name="connsiteX2" fmla="*/ 9397093 w 9413591"/>
              <a:gd name="connsiteY2" fmla="*/ 88 h 4271068"/>
              <a:gd name="connsiteX3" fmla="*/ 9413591 w 9413591"/>
              <a:gd name="connsiteY3" fmla="*/ 3974880 h 4271068"/>
              <a:gd name="connsiteX4" fmla="*/ 1598163 w 9413591"/>
              <a:gd name="connsiteY4" fmla="*/ 3975945 h 4271068"/>
              <a:gd name="connsiteX5" fmla="*/ 1515830 w 9413591"/>
              <a:gd name="connsiteY5" fmla="*/ 4009884 h 4271068"/>
              <a:gd name="connsiteX6" fmla="*/ 1508710 w 9413591"/>
              <a:gd name="connsiteY6" fmla="*/ 4220083 h 4271068"/>
              <a:gd name="connsiteX7" fmla="*/ 1403720 w 9413591"/>
              <a:gd name="connsiteY7" fmla="*/ 4268652 h 4271068"/>
              <a:gd name="connsiteX8" fmla="*/ 192873 w 9413591"/>
              <a:gd name="connsiteY8" fmla="*/ 4265541 h 4271068"/>
              <a:gd name="connsiteX9" fmla="*/ 246481 w 9413591"/>
              <a:gd name="connsiteY9" fmla="*/ 0 h 4271068"/>
              <a:gd name="connsiteX0" fmla="*/ 64211 w 9231321"/>
              <a:gd name="connsiteY0" fmla="*/ 0 h 4271068"/>
              <a:gd name="connsiteX1" fmla="*/ 9214823 w 9231321"/>
              <a:gd name="connsiteY1" fmla="*/ 9701 h 4271068"/>
              <a:gd name="connsiteX2" fmla="*/ 9214823 w 9231321"/>
              <a:gd name="connsiteY2" fmla="*/ 88 h 4271068"/>
              <a:gd name="connsiteX3" fmla="*/ 9231321 w 9231321"/>
              <a:gd name="connsiteY3" fmla="*/ 3974880 h 4271068"/>
              <a:gd name="connsiteX4" fmla="*/ 1415893 w 9231321"/>
              <a:gd name="connsiteY4" fmla="*/ 3975945 h 4271068"/>
              <a:gd name="connsiteX5" fmla="*/ 1333560 w 9231321"/>
              <a:gd name="connsiteY5" fmla="*/ 4009884 h 4271068"/>
              <a:gd name="connsiteX6" fmla="*/ 1326440 w 9231321"/>
              <a:gd name="connsiteY6" fmla="*/ 4220083 h 4271068"/>
              <a:gd name="connsiteX7" fmla="*/ 1221450 w 9231321"/>
              <a:gd name="connsiteY7" fmla="*/ 4268652 h 4271068"/>
              <a:gd name="connsiteX8" fmla="*/ 10603 w 9231321"/>
              <a:gd name="connsiteY8" fmla="*/ 4265541 h 4271068"/>
              <a:gd name="connsiteX9" fmla="*/ 64211 w 9231321"/>
              <a:gd name="connsiteY9" fmla="*/ 0 h 4271068"/>
              <a:gd name="connsiteX0" fmla="*/ 10604 w 9177714"/>
              <a:gd name="connsiteY0" fmla="*/ 0 h 4276228"/>
              <a:gd name="connsiteX1" fmla="*/ 9161216 w 9177714"/>
              <a:gd name="connsiteY1" fmla="*/ 9701 h 4276228"/>
              <a:gd name="connsiteX2" fmla="*/ 9161216 w 9177714"/>
              <a:gd name="connsiteY2" fmla="*/ 88 h 4276228"/>
              <a:gd name="connsiteX3" fmla="*/ 9177714 w 9177714"/>
              <a:gd name="connsiteY3" fmla="*/ 3974880 h 4276228"/>
              <a:gd name="connsiteX4" fmla="*/ 1362286 w 9177714"/>
              <a:gd name="connsiteY4" fmla="*/ 3975945 h 4276228"/>
              <a:gd name="connsiteX5" fmla="*/ 1279953 w 9177714"/>
              <a:gd name="connsiteY5" fmla="*/ 4009884 h 4276228"/>
              <a:gd name="connsiteX6" fmla="*/ 1272833 w 9177714"/>
              <a:gd name="connsiteY6" fmla="*/ 4220083 h 4276228"/>
              <a:gd name="connsiteX7" fmla="*/ 1167843 w 9177714"/>
              <a:gd name="connsiteY7" fmla="*/ 4268652 h 4276228"/>
              <a:gd name="connsiteX8" fmla="*/ 10603 w 9177714"/>
              <a:gd name="connsiteY8" fmla="*/ 4265541 h 4276228"/>
              <a:gd name="connsiteX9" fmla="*/ 10604 w 9177714"/>
              <a:gd name="connsiteY9" fmla="*/ 0 h 4276228"/>
              <a:gd name="connsiteX0" fmla="*/ 10604 w 9177714"/>
              <a:gd name="connsiteY0" fmla="*/ 0 h 4268609"/>
              <a:gd name="connsiteX1" fmla="*/ 9161216 w 9177714"/>
              <a:gd name="connsiteY1" fmla="*/ 9701 h 4268609"/>
              <a:gd name="connsiteX2" fmla="*/ 9161216 w 9177714"/>
              <a:gd name="connsiteY2" fmla="*/ 88 h 4268609"/>
              <a:gd name="connsiteX3" fmla="*/ 9177714 w 9177714"/>
              <a:gd name="connsiteY3" fmla="*/ 3974880 h 4268609"/>
              <a:gd name="connsiteX4" fmla="*/ 1362286 w 9177714"/>
              <a:gd name="connsiteY4" fmla="*/ 3975945 h 4268609"/>
              <a:gd name="connsiteX5" fmla="*/ 1279953 w 9177714"/>
              <a:gd name="connsiteY5" fmla="*/ 4009884 h 4268609"/>
              <a:gd name="connsiteX6" fmla="*/ 1272833 w 9177714"/>
              <a:gd name="connsiteY6" fmla="*/ 4220083 h 4268609"/>
              <a:gd name="connsiteX7" fmla="*/ 1206981 w 9177714"/>
              <a:gd name="connsiteY7" fmla="*/ 4261033 h 4268609"/>
              <a:gd name="connsiteX8" fmla="*/ 10603 w 9177714"/>
              <a:gd name="connsiteY8" fmla="*/ 4265541 h 4268609"/>
              <a:gd name="connsiteX9" fmla="*/ 10604 w 9177714"/>
              <a:gd name="connsiteY9" fmla="*/ 0 h 4268609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184616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8698"/>
              <a:gd name="connsiteX1" fmla="*/ 9161216 w 9177714"/>
              <a:gd name="connsiteY1" fmla="*/ 9701 h 4268698"/>
              <a:gd name="connsiteX2" fmla="*/ 9161216 w 9177714"/>
              <a:gd name="connsiteY2" fmla="*/ 88 h 4268698"/>
              <a:gd name="connsiteX3" fmla="*/ 9177714 w 9177714"/>
              <a:gd name="connsiteY3" fmla="*/ 3974880 h 4268698"/>
              <a:gd name="connsiteX4" fmla="*/ 1362286 w 9177714"/>
              <a:gd name="connsiteY4" fmla="*/ 3975945 h 4268698"/>
              <a:gd name="connsiteX5" fmla="*/ 1279953 w 9177714"/>
              <a:gd name="connsiteY5" fmla="*/ 4009884 h 4268698"/>
              <a:gd name="connsiteX6" fmla="*/ 1272833 w 9177714"/>
              <a:gd name="connsiteY6" fmla="*/ 4197223 h 4268698"/>
              <a:gd name="connsiteX7" fmla="*/ 1173434 w 9177714"/>
              <a:gd name="connsiteY7" fmla="*/ 4266113 h 4268698"/>
              <a:gd name="connsiteX8" fmla="*/ 10603 w 9177714"/>
              <a:gd name="connsiteY8" fmla="*/ 4265541 h 4268698"/>
              <a:gd name="connsiteX9" fmla="*/ 10604 w 9177714"/>
              <a:gd name="connsiteY9" fmla="*/ 0 h 42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77714" h="4268698">
                <a:moveTo>
                  <a:pt x="10604" y="0"/>
                </a:moveTo>
                <a:lnTo>
                  <a:pt x="9161216" y="9701"/>
                </a:lnTo>
                <a:lnTo>
                  <a:pt x="9161216" y="88"/>
                </a:lnTo>
                <a:cubicBezTo>
                  <a:pt x="9162804" y="1317689"/>
                  <a:pt x="9176126" y="2657279"/>
                  <a:pt x="9177714" y="3974880"/>
                </a:cubicBezTo>
                <a:lnTo>
                  <a:pt x="1362286" y="3975945"/>
                </a:lnTo>
                <a:cubicBezTo>
                  <a:pt x="1324129" y="3980616"/>
                  <a:pt x="1294862" y="3973004"/>
                  <a:pt x="1279953" y="4009884"/>
                </a:cubicBezTo>
                <a:cubicBezTo>
                  <a:pt x="1265044" y="4046764"/>
                  <a:pt x="1276941" y="4145761"/>
                  <a:pt x="1272833" y="4197223"/>
                </a:cubicBezTo>
                <a:cubicBezTo>
                  <a:pt x="1272365" y="4244226"/>
                  <a:pt x="1221664" y="4268698"/>
                  <a:pt x="1173434" y="4266113"/>
                </a:cubicBezTo>
                <a:lnTo>
                  <a:pt x="10603" y="4265541"/>
                </a:lnTo>
                <a:cubicBezTo>
                  <a:pt x="0" y="3520977"/>
                  <a:pt x="7635" y="788799"/>
                  <a:pt x="10604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 hasCustomPrompt="1"/>
          </p:nvPr>
        </p:nvSpPr>
        <p:spPr>
          <a:xfrm>
            <a:off x="1214437" y="303652"/>
            <a:ext cx="5201841" cy="501254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 err="1" smtClean="0"/>
              <a:t>Chapter</a:t>
            </a:r>
            <a:r>
              <a:rPr lang="sv-SE" dirty="0" smtClean="0"/>
              <a:t> </a:t>
            </a:r>
            <a:r>
              <a:rPr lang="sv-SE" dirty="0" err="1" smtClean="0"/>
              <a:t>heading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4185084" y="4716382"/>
            <a:ext cx="1600200" cy="273844"/>
          </a:xfrm>
        </p:spPr>
        <p:txBody>
          <a:bodyPr/>
          <a:lstStyle>
            <a:lvl1pPr>
              <a:defRPr sz="619"/>
            </a:lvl1pPr>
          </a:lstStyle>
          <a:p>
            <a:fld id="{CFCB38AA-14D0-4B67-BE5B-608C5A8A7489}" type="datetimeFigureOut">
              <a:rPr lang="sv-SE" smtClean="0"/>
              <a:pPr/>
              <a:t>2023-09-12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6129301" y="4726058"/>
            <a:ext cx="398897" cy="273844"/>
          </a:xfrm>
        </p:spPr>
        <p:txBody>
          <a:bodyPr/>
          <a:lstStyle>
            <a:lvl1pPr>
              <a:defRPr sz="619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214438" y="4758975"/>
            <a:ext cx="2171700" cy="273844"/>
          </a:xfrm>
        </p:spPr>
        <p:txBody>
          <a:bodyPr lIns="0" tIns="0" rIns="0" bIns="0" anchor="t"/>
          <a:lstStyle>
            <a:lvl1pPr algn="l">
              <a:lnSpc>
                <a:spcPts val="506"/>
              </a:lnSpc>
              <a:defRPr sz="619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2595570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1214437" y="1187055"/>
            <a:ext cx="5201841" cy="3058715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/>
          </p:nvPr>
        </p:nvSpPr>
        <p:spPr>
          <a:xfrm>
            <a:off x="1214437" y="303652"/>
            <a:ext cx="5201841" cy="501254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4185084" y="4716382"/>
            <a:ext cx="1600200" cy="273844"/>
          </a:xfrm>
        </p:spPr>
        <p:txBody>
          <a:bodyPr/>
          <a:lstStyle>
            <a:lvl1pPr>
              <a:defRPr sz="619"/>
            </a:lvl1pPr>
          </a:lstStyle>
          <a:p>
            <a:fld id="{CFCB38AA-14D0-4B67-BE5B-608C5A8A7489}" type="datetimeFigureOut">
              <a:rPr lang="sv-SE" smtClean="0"/>
              <a:pPr/>
              <a:t>2023-09-12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6129301" y="4726058"/>
            <a:ext cx="398897" cy="273844"/>
          </a:xfrm>
        </p:spPr>
        <p:txBody>
          <a:bodyPr/>
          <a:lstStyle>
            <a:lvl1pPr>
              <a:defRPr sz="619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214438" y="4758975"/>
            <a:ext cx="2171700" cy="273844"/>
          </a:xfrm>
        </p:spPr>
        <p:txBody>
          <a:bodyPr lIns="0" tIns="0" rIns="0" bIns="0" anchor="t"/>
          <a:lstStyle>
            <a:lvl1pPr algn="l">
              <a:lnSpc>
                <a:spcPts val="506"/>
              </a:lnSpc>
              <a:defRPr sz="619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906784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4185084" y="4716382"/>
            <a:ext cx="1600200" cy="273844"/>
          </a:xfrm>
        </p:spPr>
        <p:txBody>
          <a:bodyPr/>
          <a:lstStyle>
            <a:lvl1pPr>
              <a:defRPr sz="619"/>
            </a:lvl1pPr>
          </a:lstStyle>
          <a:p>
            <a:fld id="{CFCB38AA-14D0-4B67-BE5B-608C5A8A7489}" type="datetimeFigureOut">
              <a:rPr lang="sv-SE" smtClean="0"/>
              <a:pPr/>
              <a:t>2023-09-12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6129301" y="4726058"/>
            <a:ext cx="398897" cy="273844"/>
          </a:xfrm>
        </p:spPr>
        <p:txBody>
          <a:bodyPr/>
          <a:lstStyle>
            <a:lvl1pPr>
              <a:defRPr sz="619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214438" y="4758975"/>
            <a:ext cx="2171700" cy="273844"/>
          </a:xfrm>
        </p:spPr>
        <p:txBody>
          <a:bodyPr lIns="0" tIns="0" rIns="0" bIns="0" anchor="t"/>
          <a:lstStyle>
            <a:lvl1pPr algn="l">
              <a:lnSpc>
                <a:spcPts val="506"/>
              </a:lnSpc>
              <a:defRPr sz="619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4947884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224" y="258366"/>
            <a:ext cx="497062" cy="497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Platshållare för innehåll 2"/>
          <p:cNvSpPr>
            <a:spLocks noGrp="1"/>
          </p:cNvSpPr>
          <p:nvPr>
            <p:ph idx="1"/>
          </p:nvPr>
        </p:nvSpPr>
        <p:spPr>
          <a:xfrm>
            <a:off x="1214437" y="1187055"/>
            <a:ext cx="5201841" cy="3058715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214437" y="303652"/>
            <a:ext cx="5201841" cy="501254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4185084" y="4716382"/>
            <a:ext cx="1600200" cy="273844"/>
          </a:xfrm>
        </p:spPr>
        <p:txBody>
          <a:bodyPr/>
          <a:lstStyle>
            <a:lvl1pPr>
              <a:defRPr sz="619">
                <a:solidFill>
                  <a:schemeClr val="tx1"/>
                </a:solidFill>
              </a:defRPr>
            </a:lvl1pPr>
          </a:lstStyle>
          <a:p>
            <a:fld id="{CFCB38AA-14D0-4B67-BE5B-608C5A8A7489}" type="datetimeFigureOut">
              <a:rPr lang="sv-SE" smtClean="0"/>
              <a:pPr/>
              <a:t>2023-09-12</a:t>
            </a:fld>
            <a:endParaRPr lang="sv-SE"/>
          </a:p>
        </p:txBody>
      </p:sp>
      <p:sp>
        <p:nvSpPr>
          <p:cNvPr id="14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6129301" y="4726058"/>
            <a:ext cx="398897" cy="273844"/>
          </a:xfrm>
        </p:spPr>
        <p:txBody>
          <a:bodyPr/>
          <a:lstStyle>
            <a:lvl1pPr>
              <a:defRPr sz="619">
                <a:solidFill>
                  <a:schemeClr val="tx1"/>
                </a:solidFill>
              </a:defRPr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214438" y="4758975"/>
            <a:ext cx="2171700" cy="273844"/>
          </a:xfrm>
        </p:spPr>
        <p:txBody>
          <a:bodyPr lIns="0" tIns="0" rIns="0" bIns="0" anchor="t"/>
          <a:lstStyle>
            <a:lvl1pPr algn="l">
              <a:lnSpc>
                <a:spcPts val="506"/>
              </a:lnSpc>
              <a:defRPr sz="619" b="1" cap="all" baseline="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9539014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två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4F7F9D-91F2-834F-94B9-2CB3ED2DF86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527FB4B-7893-4946-9C41-FB1EB79145A0}" type="slidenum">
              <a:rPr lang="sv-SE" smtClean="0"/>
              <a:t>‹#›</a:t>
            </a:fld>
            <a:endParaRPr lang="sv-SE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AA8391E-3731-2443-9876-D90B9EC17C8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3EF3AF1-9E09-AA46-BDC3-10877CB0366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C550A4D-E48B-4261-8B84-B2F0FB45D65C}" type="datetime1">
              <a:rPr lang="sv-SE" smtClean="0"/>
              <a:t>2023-09-12</a:t>
            </a:fld>
            <a:endParaRPr lang="sv-SE"/>
          </a:p>
        </p:txBody>
      </p:sp>
      <p:sp>
        <p:nvSpPr>
          <p:cNvPr id="9" name="Platshållare för innehåll 6">
            <a:extLst>
              <a:ext uri="{FF2B5EF4-FFF2-40B4-BE49-F238E27FC236}">
                <a16:creationId xmlns:a16="http://schemas.microsoft.com/office/drawing/2014/main" id="{24B6A1C9-ADE4-4CC4-9F8E-3C523ABB3BA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985510" y="1177925"/>
            <a:ext cx="2623251" cy="3546475"/>
          </a:xfrm>
        </p:spPr>
        <p:txBody>
          <a:bodyPr/>
          <a:lstStyle>
            <a:lvl1pPr>
              <a:spcBef>
                <a:spcPts val="450"/>
              </a:spcBef>
              <a:defRPr sz="1200"/>
            </a:lvl1pPr>
            <a:lvl2pPr>
              <a:defRPr sz="1050"/>
            </a:lvl2pPr>
            <a:lvl3pPr>
              <a:defRPr sz="105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Platshållare för innehåll 6">
            <a:extLst>
              <a:ext uri="{FF2B5EF4-FFF2-40B4-BE49-F238E27FC236}">
                <a16:creationId xmlns:a16="http://schemas.microsoft.com/office/drawing/2014/main" id="{ABCA6F90-9CEE-4851-B173-D1547B4A39F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174748" y="1177925"/>
            <a:ext cx="2623251" cy="3546475"/>
          </a:xfrm>
        </p:spPr>
        <p:txBody>
          <a:bodyPr/>
          <a:lstStyle>
            <a:lvl1pPr>
              <a:spcBef>
                <a:spcPts val="450"/>
              </a:spcBef>
              <a:defRPr sz="1200"/>
            </a:lvl1pPr>
            <a:lvl2pPr>
              <a:defRPr sz="1050"/>
            </a:lvl2pPr>
            <a:lvl3pPr>
              <a:defRPr sz="105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" name="Rubrik 1">
            <a:extLst>
              <a:ext uri="{FF2B5EF4-FFF2-40B4-BE49-F238E27FC236}">
                <a16:creationId xmlns:a16="http://schemas.microsoft.com/office/drawing/2014/main" id="{049F9A72-D666-409F-89F0-C4DB12D6A3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595337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underrubriker och två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3FFEBA3-A33B-D243-8505-9EFC9EFACEA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527FB4B-7893-4946-9C41-FB1EB79145A0}" type="slidenum">
              <a:rPr lang="sv-SE" smtClean="0"/>
              <a:t>‹#›</a:t>
            </a:fld>
            <a:endParaRPr lang="sv-SE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30F20D-3BD2-0A42-A3AC-0754B6604F6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52066D-E37A-2B40-9E6B-D11CEB2B2020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7E6E8002-4341-4529-9F24-71E7097D93BC}" type="datetime1">
              <a:rPr lang="sv-SE" smtClean="0"/>
              <a:t>2023-09-12</a:t>
            </a:fld>
            <a:endParaRPr lang="sv-SE"/>
          </a:p>
        </p:txBody>
      </p:sp>
      <p:sp>
        <p:nvSpPr>
          <p:cNvPr id="11" name="Platshållare för innehåll 6">
            <a:extLst>
              <a:ext uri="{FF2B5EF4-FFF2-40B4-BE49-F238E27FC236}">
                <a16:creationId xmlns:a16="http://schemas.microsoft.com/office/drawing/2014/main" id="{67A1B334-9578-40B0-9E5A-97A57E06FD8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985510" y="1458000"/>
            <a:ext cx="2623251" cy="3266400"/>
          </a:xfrm>
        </p:spPr>
        <p:txBody>
          <a:bodyPr/>
          <a:lstStyle>
            <a:lvl1pPr>
              <a:spcBef>
                <a:spcPts val="450"/>
              </a:spcBef>
              <a:defRPr sz="1200"/>
            </a:lvl1pPr>
            <a:lvl2pPr>
              <a:defRPr sz="1050"/>
            </a:lvl2pPr>
            <a:lvl3pPr>
              <a:defRPr sz="105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2" name="Platshållare för text 2">
            <a:extLst>
              <a:ext uri="{FF2B5EF4-FFF2-40B4-BE49-F238E27FC236}">
                <a16:creationId xmlns:a16="http://schemas.microsoft.com/office/drawing/2014/main" id="{62DD5381-3325-4D1A-94D6-C5C5021965F4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3985512" y="992639"/>
            <a:ext cx="2623250" cy="398348"/>
          </a:xfrm>
        </p:spPr>
        <p:txBody>
          <a:bodyPr anchor="b">
            <a:noAutofit/>
          </a:bodyPr>
          <a:lstStyle>
            <a:lvl1pPr marL="0" indent="0">
              <a:buNone/>
              <a:defRPr sz="1400" b="0">
                <a:solidFill>
                  <a:schemeClr val="tx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7" name="Platshållare för innehåll 6">
            <a:extLst>
              <a:ext uri="{FF2B5EF4-FFF2-40B4-BE49-F238E27FC236}">
                <a16:creationId xmlns:a16="http://schemas.microsoft.com/office/drawing/2014/main" id="{6AD6011F-45DB-6648-8334-1B4DC6E8EA9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174748" y="1458000"/>
            <a:ext cx="2623251" cy="3266400"/>
          </a:xfrm>
        </p:spPr>
        <p:txBody>
          <a:bodyPr/>
          <a:lstStyle>
            <a:lvl1pPr>
              <a:spcBef>
                <a:spcPts val="450"/>
              </a:spcBef>
              <a:defRPr sz="1200"/>
            </a:lvl1pPr>
            <a:lvl2pPr>
              <a:defRPr sz="1050"/>
            </a:lvl2pPr>
            <a:lvl3pPr>
              <a:defRPr sz="105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Platshållare för text 2">
            <a:extLst>
              <a:ext uri="{FF2B5EF4-FFF2-40B4-BE49-F238E27FC236}">
                <a16:creationId xmlns:a16="http://schemas.microsoft.com/office/drawing/2014/main" id="{5036AF80-4CD2-454D-A2BD-8376F1D805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74750" y="992639"/>
            <a:ext cx="2623250" cy="398348"/>
          </a:xfrm>
        </p:spPr>
        <p:txBody>
          <a:bodyPr anchor="b">
            <a:noAutofit/>
          </a:bodyPr>
          <a:lstStyle>
            <a:lvl1pPr marL="0" indent="0">
              <a:buNone/>
              <a:defRPr sz="1400" b="0">
                <a:solidFill>
                  <a:schemeClr val="tx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" name="Rubrik 1">
            <a:extLst>
              <a:ext uri="{FF2B5EF4-FFF2-40B4-BE49-F238E27FC236}">
                <a16:creationId xmlns:a16="http://schemas.microsoft.com/office/drawing/2014/main" id="{5CB648E2-7BF1-4B29-9F1F-7CF9F94187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59558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BDED67F-0B1F-B847-B7F8-33957AC6C4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527FB4B-7893-4946-9C41-FB1EB79145A0}" type="slidenum">
              <a:rPr lang="sv-SE" smtClean="0"/>
              <a:t>‹#›</a:t>
            </a:fld>
            <a:endParaRPr lang="sv-SE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910BECD-4EC8-084D-BC12-24B211F2422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2578A5-F1AA-9C4E-9E11-3285A47F32C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6C339AD-5F10-4FC4-A1CF-89D63D2D8E48}" type="datetime1">
              <a:rPr lang="sv-SE" smtClean="0"/>
              <a:t>2023-09-12</a:t>
            </a:fld>
            <a:endParaRPr lang="sv-SE"/>
          </a:p>
        </p:txBody>
      </p:sp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4CD2FD66-7FAA-AE47-8A10-92EF24064E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50826" y="1182688"/>
            <a:ext cx="6356350" cy="354171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3" name="Rubrik 1">
            <a:extLst>
              <a:ext uri="{FF2B5EF4-FFF2-40B4-BE49-F238E27FC236}">
                <a16:creationId xmlns:a16="http://schemas.microsoft.com/office/drawing/2014/main" id="{10EEBAA1-31D0-4043-A408-0FA6477433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17774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två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F7915CA-D248-A549-98B8-494A07C1FEA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527FB4B-7893-4946-9C41-FB1EB79145A0}" type="slidenum">
              <a:rPr lang="sv-SE" smtClean="0"/>
              <a:t>‹#›</a:t>
            </a:fld>
            <a:endParaRPr lang="sv-SE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E2728B6-63F5-B244-997D-9D6002AF7F3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9F235A-FE35-0E4E-8903-8ACF624E9FD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1F8288DE-3004-46EE-8D5B-59CB8C863272}" type="datetime1">
              <a:rPr lang="sv-SE" smtClean="0"/>
              <a:t>2023-09-12</a:t>
            </a:fld>
            <a:endParaRPr lang="sv-SE"/>
          </a:p>
        </p:txBody>
      </p:sp>
      <p:sp>
        <p:nvSpPr>
          <p:cNvPr id="8" name="Platshållare för bild 6">
            <a:extLst>
              <a:ext uri="{FF2B5EF4-FFF2-40B4-BE49-F238E27FC236}">
                <a16:creationId xmlns:a16="http://schemas.microsoft.com/office/drawing/2014/main" id="{F471D766-023C-E042-B60C-5AA70DCA121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76762" y="1183342"/>
            <a:ext cx="3132000" cy="354105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4CD2FD66-7FAA-AE47-8A10-92EF24064E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49237" y="1183342"/>
            <a:ext cx="3132000" cy="354105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3" name="Rubrik 1">
            <a:extLst>
              <a:ext uri="{FF2B5EF4-FFF2-40B4-BE49-F238E27FC236}">
                <a16:creationId xmlns:a16="http://schemas.microsoft.com/office/drawing/2014/main" id="{D7A08FF2-59DE-483A-94F1-31DC64A806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901281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8C6677-C361-8045-8EDA-75B4AB5B6D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27FB4B-7893-4946-9C41-FB1EB79145A0}" type="slidenum">
              <a:rPr lang="sv-SE" smtClean="0"/>
              <a:t>‹#›</a:t>
            </a:fld>
            <a:endParaRPr lang="sv-SE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CF0D6C8-A677-2F45-8BF9-D92EC695ED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634D99-F0CA-E845-AC90-830B52910FC4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79088BFC-FBB7-489C-B84A-21F857CBAD3E}" type="datetime1">
              <a:rPr lang="sv-SE" smtClean="0"/>
              <a:t>2023-09-12</a:t>
            </a:fld>
            <a:endParaRPr lang="sv-SE"/>
          </a:p>
        </p:txBody>
      </p:sp>
      <p:sp>
        <p:nvSpPr>
          <p:cNvPr id="3" name="Rubrik 1">
            <a:extLst>
              <a:ext uri="{FF2B5EF4-FFF2-40B4-BE49-F238E27FC236}">
                <a16:creationId xmlns:a16="http://schemas.microsoft.com/office/drawing/2014/main" id="{5B464BA0-6700-4DB2-A48A-C2EA92186E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477115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528E8603-97F6-448F-AF1B-7D33D8C756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22A9A3-8636-4A04-BD48-3153280FB086}" type="slidenum">
              <a:rPr lang="sv-SE" smtClean="0"/>
              <a:t>‹#›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E3CD4D9-900F-4086-81FD-AB6606D8B7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D42CF517-9DD4-421C-AE14-6B4A4453B0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B926A-213D-3B48-BB0C-19ADA28B3F4D}" type="datetime1">
              <a:rPr lang="sv-SE" smtClean="0"/>
              <a:t>2023-09-12</a:t>
            </a:fld>
            <a:endParaRPr lang="sv-SE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83F7B48-BB86-D74E-A1EB-2C3CDBAC7F27}"/>
              </a:ext>
              <a:ext uri="{C183D7F6-B498-43B3-948B-1728B52AA6E4}">
                <adec:decorative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asvg="http://schemas.microsoft.com/office/drawing/2016/SVG/main" r:embed="rId3"/>
              </a:ext>
            </a:extLst>
          </a:blip>
          <a:srcRect r="700"/>
          <a:stretch>
            <a:fillRect/>
          </a:stretch>
        </p:blipFill>
        <p:spPr>
          <a:xfrm>
            <a:off x="184547" y="2559026"/>
            <a:ext cx="6487719" cy="2443097"/>
          </a:xfrm>
          <a:prstGeom prst="rect">
            <a:avLst/>
          </a:prstGeom>
        </p:spPr>
      </p:pic>
      <p:sp>
        <p:nvSpPr>
          <p:cNvPr id="25" name="Underrubrik 2">
            <a:extLst>
              <a:ext uri="{FF2B5EF4-FFF2-40B4-BE49-F238E27FC236}">
                <a16:creationId xmlns:a16="http://schemas.microsoft.com/office/drawing/2014/main" id="{040AB90C-B2A7-4284-98E0-80DAE0A2CD5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25946" y="1974952"/>
            <a:ext cx="6067723" cy="596798"/>
          </a:xfrm>
        </p:spPr>
        <p:txBody>
          <a:bodyPr/>
          <a:lstStyle>
            <a:lvl1pPr marL="0" indent="0" algn="l">
              <a:buNone/>
              <a:defRPr sz="1350"/>
            </a:lvl1pPr>
            <a:lvl2pPr marL="257175" indent="0" algn="ctr">
              <a:buNone/>
              <a:defRPr sz="1125"/>
            </a:lvl2pPr>
            <a:lvl3pPr marL="514350" indent="0" algn="ctr">
              <a:buNone/>
              <a:defRPr sz="1013"/>
            </a:lvl3pPr>
            <a:lvl4pPr marL="771525" indent="0" algn="ctr">
              <a:buNone/>
              <a:defRPr sz="900"/>
            </a:lvl4pPr>
            <a:lvl5pPr marL="1028700" indent="0" algn="ctr">
              <a:buNone/>
              <a:defRPr sz="900"/>
            </a:lvl5pPr>
            <a:lvl6pPr marL="1285875" indent="0" algn="ctr">
              <a:buNone/>
              <a:defRPr sz="900"/>
            </a:lvl6pPr>
            <a:lvl7pPr marL="1543050" indent="0" algn="ctr">
              <a:buNone/>
              <a:defRPr sz="900"/>
            </a:lvl7pPr>
            <a:lvl8pPr marL="1800225" indent="0" algn="ctr">
              <a:buNone/>
              <a:defRPr sz="900"/>
            </a:lvl8pPr>
            <a:lvl9pPr marL="2057400" indent="0" algn="ctr">
              <a:buNone/>
              <a:defRPr sz="900"/>
            </a:lvl9pPr>
          </a:lstStyle>
          <a:p>
            <a:r>
              <a:rPr lang="sv-SE"/>
              <a:t>Klicka här för att ändra mall för underrubrikformat</a:t>
            </a:r>
          </a:p>
        </p:txBody>
      </p:sp>
      <p:sp>
        <p:nvSpPr>
          <p:cNvPr id="24" name="Rubrik 1">
            <a:extLst>
              <a:ext uri="{FF2B5EF4-FFF2-40B4-BE49-F238E27FC236}">
                <a16:creationId xmlns:a16="http://schemas.microsoft.com/office/drawing/2014/main" id="{2973C368-F8A4-41B1-9D52-4D79988138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25946" y="1390868"/>
            <a:ext cx="6067723" cy="566641"/>
          </a:xfrm>
        </p:spPr>
        <p:txBody>
          <a:bodyPr anchor="t"/>
          <a:lstStyle>
            <a:lvl1pPr algn="l">
              <a:defRPr sz="2025"/>
            </a:lvl1pPr>
          </a:lstStyle>
          <a:p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1052611547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12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5" Type="http://schemas.openxmlformats.org/officeDocument/2006/relationships/slideLayout" Target="../slideLayouts/slideLayout21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20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image" Target="../media/image6.emf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563F550-2974-9E4B-B068-842EDA7E176E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5068183" y="4907461"/>
            <a:ext cx="1543050" cy="22612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27FB4B-7893-4946-9C41-FB1EB79145A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35D1E46-ACAC-CB45-8347-1E27A81EB7A4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2261483" y="4907461"/>
            <a:ext cx="2314575" cy="22612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2192B6A-E8D6-E94B-B438-36406C3A150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261878" y="4907461"/>
            <a:ext cx="1543050" cy="22612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53A022-9235-478F-A02A-A07C52B913DC}" type="datetime1">
              <a:rPr lang="sv-SE" smtClean="0"/>
              <a:t>2023-09-12</a:t>
            </a:fld>
            <a:endParaRPr lang="sv-SE"/>
          </a:p>
        </p:txBody>
      </p:sp>
      <p:cxnSp>
        <p:nvCxnSpPr>
          <p:cNvPr id="9" name="Rak 8">
            <a:extLst>
              <a:ext uri="{FF2B5EF4-FFF2-40B4-BE49-F238E27FC236}">
                <a16:creationId xmlns:a16="http://schemas.microsoft.com/office/drawing/2014/main" id="{35A3ADBA-25A7-C947-B502-691111D0D9E5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250825" y="4891747"/>
            <a:ext cx="635793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376CF093-1E8D-FF4F-B3C9-72A2B0815CB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74750" y="1177925"/>
            <a:ext cx="5429250" cy="35401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785D31C7-D918-594B-BEA4-908A262318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4749" y="251752"/>
            <a:ext cx="5429251" cy="67387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pic>
        <p:nvPicPr>
          <p:cNvPr id="153" name="Picture 2">
            <a:extLst>
              <a:ext uri="{FF2B5EF4-FFF2-40B4-BE49-F238E27FC236}">
                <a16:creationId xmlns:a16="http://schemas.microsoft.com/office/drawing/2014/main" id="{27E88DB3-2B58-724F-94B3-6D5858EC3FB2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PicPr>
            <a:picLocks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52576" y="251925"/>
            <a:ext cx="672355" cy="680964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86" r:id="rId3"/>
    <p:sldLayoutId id="2147483800" r:id="rId4"/>
    <p:sldLayoutId id="2147483801" r:id="rId5"/>
    <p:sldLayoutId id="2147483803" r:id="rId6"/>
    <p:sldLayoutId id="2147483802" r:id="rId7"/>
    <p:sldLayoutId id="2147483799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rtl="0" eaLnBrk="1" fontAlgn="base" hangingPunct="1">
        <a:lnSpc>
          <a:spcPts val="2250"/>
        </a:lnSpc>
        <a:spcBef>
          <a:spcPct val="0"/>
        </a:spcBef>
        <a:spcAft>
          <a:spcPct val="0"/>
        </a:spcAft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2250"/>
        </a:lnSpc>
        <a:spcBef>
          <a:spcPct val="0"/>
        </a:spcBef>
        <a:spcAft>
          <a:spcPct val="0"/>
        </a:spcAft>
        <a:defRPr sz="1950" b="1">
          <a:solidFill>
            <a:schemeClr val="tx1"/>
          </a:solidFill>
          <a:latin typeface="Arial" panose="020B0604020202020204" pitchFamily="34" charset="0"/>
        </a:defRPr>
      </a:lvl2pPr>
      <a:lvl3pPr algn="l" rtl="0" eaLnBrk="1" fontAlgn="base" hangingPunct="1">
        <a:lnSpc>
          <a:spcPts val="2250"/>
        </a:lnSpc>
        <a:spcBef>
          <a:spcPct val="0"/>
        </a:spcBef>
        <a:spcAft>
          <a:spcPct val="0"/>
        </a:spcAft>
        <a:defRPr sz="1950" b="1">
          <a:solidFill>
            <a:schemeClr val="tx1"/>
          </a:solidFill>
          <a:latin typeface="Arial" panose="020B0604020202020204" pitchFamily="34" charset="0"/>
        </a:defRPr>
      </a:lvl3pPr>
      <a:lvl4pPr algn="l" rtl="0" eaLnBrk="1" fontAlgn="base" hangingPunct="1">
        <a:lnSpc>
          <a:spcPts val="2250"/>
        </a:lnSpc>
        <a:spcBef>
          <a:spcPct val="0"/>
        </a:spcBef>
        <a:spcAft>
          <a:spcPct val="0"/>
        </a:spcAft>
        <a:defRPr sz="1950" b="1">
          <a:solidFill>
            <a:schemeClr val="tx1"/>
          </a:solidFill>
          <a:latin typeface="Arial" panose="020B0604020202020204" pitchFamily="34" charset="0"/>
        </a:defRPr>
      </a:lvl4pPr>
      <a:lvl5pPr algn="l" rtl="0" eaLnBrk="1" fontAlgn="base" hangingPunct="1">
        <a:lnSpc>
          <a:spcPts val="2250"/>
        </a:lnSpc>
        <a:spcBef>
          <a:spcPct val="0"/>
        </a:spcBef>
        <a:spcAft>
          <a:spcPct val="0"/>
        </a:spcAft>
        <a:defRPr sz="1950" b="1">
          <a:solidFill>
            <a:schemeClr val="tx1"/>
          </a:solidFill>
          <a:latin typeface="Arial" panose="020B0604020202020204" pitchFamily="34" charset="0"/>
        </a:defRPr>
      </a:lvl5pPr>
      <a:lvl6pPr marL="342900" algn="l" rtl="0" eaLnBrk="1" fontAlgn="base" hangingPunct="1">
        <a:lnSpc>
          <a:spcPts val="2250"/>
        </a:lnSpc>
        <a:spcBef>
          <a:spcPct val="0"/>
        </a:spcBef>
        <a:spcAft>
          <a:spcPct val="0"/>
        </a:spcAft>
        <a:defRPr sz="1950" b="1">
          <a:solidFill>
            <a:schemeClr val="tx1"/>
          </a:solidFill>
          <a:latin typeface="Arial" panose="020B0604020202020204" pitchFamily="34" charset="0"/>
        </a:defRPr>
      </a:lvl6pPr>
      <a:lvl7pPr marL="685800" algn="l" rtl="0" eaLnBrk="1" fontAlgn="base" hangingPunct="1">
        <a:lnSpc>
          <a:spcPts val="2250"/>
        </a:lnSpc>
        <a:spcBef>
          <a:spcPct val="0"/>
        </a:spcBef>
        <a:spcAft>
          <a:spcPct val="0"/>
        </a:spcAft>
        <a:defRPr sz="1950" b="1">
          <a:solidFill>
            <a:schemeClr val="tx1"/>
          </a:solidFill>
          <a:latin typeface="Arial" panose="020B0604020202020204" pitchFamily="34" charset="0"/>
        </a:defRPr>
      </a:lvl7pPr>
      <a:lvl8pPr marL="1028700" algn="l" rtl="0" eaLnBrk="1" fontAlgn="base" hangingPunct="1">
        <a:lnSpc>
          <a:spcPts val="2250"/>
        </a:lnSpc>
        <a:spcBef>
          <a:spcPct val="0"/>
        </a:spcBef>
        <a:spcAft>
          <a:spcPct val="0"/>
        </a:spcAft>
        <a:defRPr sz="1950" b="1">
          <a:solidFill>
            <a:schemeClr val="tx1"/>
          </a:solidFill>
          <a:latin typeface="Arial" panose="020B0604020202020204" pitchFamily="34" charset="0"/>
        </a:defRPr>
      </a:lvl8pPr>
      <a:lvl9pPr marL="1371600" algn="l" rtl="0" eaLnBrk="1" fontAlgn="base" hangingPunct="1">
        <a:lnSpc>
          <a:spcPts val="2250"/>
        </a:lnSpc>
        <a:spcBef>
          <a:spcPct val="0"/>
        </a:spcBef>
        <a:spcAft>
          <a:spcPct val="0"/>
        </a:spcAft>
        <a:defRPr sz="1950" b="1">
          <a:solidFill>
            <a:schemeClr val="tx1"/>
          </a:solidFill>
          <a:latin typeface="Arial" panose="020B0604020202020204" pitchFamily="34" charset="0"/>
        </a:defRPr>
      </a:lvl9pPr>
    </p:titleStyle>
    <p:bodyStyle>
      <a:lvl1pPr marL="166688" indent="-166688" algn="l" rtl="0" eaLnBrk="1" fontAlgn="base" hangingPunct="1">
        <a:lnSpc>
          <a:spcPct val="90000"/>
        </a:lnSpc>
        <a:spcBef>
          <a:spcPts val="750"/>
        </a:spcBef>
        <a:spcAft>
          <a:spcPts val="150"/>
        </a:spcAft>
        <a:buClr>
          <a:schemeClr val="tx1"/>
        </a:buClr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34566" indent="-167879" algn="l" rtl="0" eaLnBrk="1" fontAlgn="base" hangingPunct="1">
        <a:lnSpc>
          <a:spcPct val="90000"/>
        </a:lnSpc>
        <a:spcBef>
          <a:spcPts val="450"/>
        </a:spcBef>
        <a:spcAft>
          <a:spcPct val="0"/>
        </a:spcAft>
        <a:buFont typeface="Systemtypsnitt"/>
        <a:buChar char="–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02444" indent="-167879" algn="l" rtl="0" eaLnBrk="1" fontAlgn="base" hangingPunct="1">
        <a:lnSpc>
          <a:spcPct val="90000"/>
        </a:lnSpc>
        <a:spcBef>
          <a:spcPts val="450"/>
        </a:spcBef>
        <a:spcAft>
          <a:spcPct val="0"/>
        </a:spcAft>
        <a:buFont typeface="Systemtypsnitt"/>
        <a:buChar char="&gt;"/>
        <a:tabLst/>
        <a:defRPr sz="1200" i="1" kern="1200">
          <a:solidFill>
            <a:schemeClr val="tx1"/>
          </a:solidFill>
          <a:latin typeface="+mn-lt"/>
          <a:ea typeface="+mn-ea"/>
          <a:cs typeface="+mn-cs"/>
        </a:defRPr>
      </a:lvl3pPr>
      <a:lvl4pPr marL="634604" indent="-132160" algn="l" rtl="0" eaLnBrk="1" fontAlgn="base" hangingPunct="1">
        <a:lnSpc>
          <a:spcPct val="90000"/>
        </a:lnSpc>
        <a:spcBef>
          <a:spcPts val="450"/>
        </a:spcBef>
        <a:spcAft>
          <a:spcPct val="0"/>
        </a:spcAft>
        <a:buFont typeface="Arial" panose="020B0604020202020204" pitchFamily="34" charset="0"/>
        <a:buChar char="•"/>
        <a:tabLst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834629" indent="-200025" algn="l" rtl="0" eaLnBrk="1" fontAlgn="base" hangingPunct="1">
        <a:lnSpc>
          <a:spcPct val="90000"/>
        </a:lnSpc>
        <a:spcBef>
          <a:spcPts val="450"/>
        </a:spcBef>
        <a:spcAft>
          <a:spcPct val="0"/>
        </a:spcAft>
        <a:buFont typeface="Arial" panose="020B0604020202020204" pitchFamily="34" charset="0"/>
        <a:buChar char="–"/>
        <a:tabLst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160" userDrawn="1">
          <p15:clr>
            <a:srgbClr val="F26B43"/>
          </p15:clr>
        </p15:guide>
        <p15:guide id="3" pos="740" userDrawn="1">
          <p15:clr>
            <a:srgbClr val="F26B43"/>
          </p15:clr>
        </p15:guide>
        <p15:guide id="4" pos="3952" userDrawn="1">
          <p15:clr>
            <a:srgbClr val="F26B43"/>
          </p15:clr>
        </p15:guide>
        <p15:guide id="5" orient="horz" pos="742" userDrawn="1">
          <p15:clr>
            <a:srgbClr val="F26B43"/>
          </p15:clr>
        </p15:guide>
        <p15:guide id="7" pos="158" userDrawn="1">
          <p15:clr>
            <a:srgbClr val="F26B43"/>
          </p15:clr>
        </p15:guide>
        <p15:guide id="9" orient="horz" pos="587" userDrawn="1">
          <p15:clr>
            <a:srgbClr val="F26B43"/>
          </p15:clr>
        </p15:guide>
        <p15:guide id="10" orient="horz" pos="159" userDrawn="1">
          <p15:clr>
            <a:srgbClr val="F26B43"/>
          </p15:clr>
        </p15:guide>
        <p15:guide id="11" pos="4160" userDrawn="1">
          <p15:clr>
            <a:srgbClr val="F26B43"/>
          </p15:clr>
        </p15:guide>
        <p15:guide id="12" pos="581" userDrawn="1">
          <p15:clr>
            <a:srgbClr val="F26B43"/>
          </p15:clr>
        </p15:guide>
        <p15:guide id="15" orient="horz" pos="3078" userDrawn="1">
          <p15:clr>
            <a:srgbClr val="F26B43"/>
          </p15:clr>
        </p15:guide>
        <p15:guide id="16" orient="horz" pos="2972" userDrawn="1">
          <p15:clr>
            <a:srgbClr val="F26B43"/>
          </p15:clr>
        </p15:guide>
        <p15:guide id="17" pos="368" userDrawn="1">
          <p15:clr>
            <a:srgbClr val="F26B43"/>
          </p15:clr>
        </p15:guide>
        <p15:guide id="18" orient="horz" pos="196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F9DBF7EF-8E59-4075-A8F0-EF49E121CA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26310" y="4902599"/>
            <a:ext cx="1543050" cy="23257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sv-SE"/>
            </a:defPPr>
            <a:lvl1pPr marL="0" algn="r" defTabSz="514350" rtl="0" eaLnBrk="1" latinLnBrk="0" hangingPunct="1">
              <a:defRPr sz="56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57175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35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71525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870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85875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4305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00225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422A9A3-8636-4A04-BD48-3153280FB086}" type="slidenum">
              <a:rPr lang="sv-SE" smtClean="0"/>
              <a:t>‹#›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C9465249-3F3D-4589-A44C-3AA1952E4C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71713" y="4902599"/>
            <a:ext cx="2314575" cy="23257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sv-SE"/>
            </a:defPPr>
            <a:lvl1pPr marL="0" algn="ctr" defTabSz="514350" rtl="0" eaLnBrk="1" latinLnBrk="0" hangingPunct="1">
              <a:defRPr sz="56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57175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35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71525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870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85875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4305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00225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sv-SE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80C11F1C-711C-4AD7-A25F-D2B3F451BB0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8640" y="4902599"/>
            <a:ext cx="1543050" cy="23257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sv-SE"/>
            </a:defPPr>
            <a:lvl1pPr marL="0" algn="l" defTabSz="514350" rtl="0" eaLnBrk="1" latinLnBrk="0" hangingPunct="1">
              <a:defRPr sz="56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57175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35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71525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870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85875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4305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00225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DBE8303-AD2F-DB4D-B8E2-7368B5FD02EE}" type="datetime1">
              <a:rPr lang="sv-SE" smtClean="0"/>
              <a:t>2023-09-12</a:t>
            </a:fld>
            <a:endParaRPr lang="sv-SE"/>
          </a:p>
        </p:txBody>
      </p:sp>
      <p:sp>
        <p:nvSpPr>
          <p:cNvPr id="54" name="Rektangel 53">
            <a:extLst>
              <a:ext uri="{FF2B5EF4-FFF2-40B4-BE49-F238E27FC236}">
                <a16:creationId xmlns:a16="http://schemas.microsoft.com/office/drawing/2014/main" id="{D263F704-88D1-4479-BA22-2920B7F38621}"/>
              </a:ext>
              <a:ext uri="{C183D7F6-B498-43B3-948B-1728B52AA6E4}">
                <adec:decorative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88063" y="4889099"/>
            <a:ext cx="6485093" cy="1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sv-SE" sz="76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CEFDED03-B73B-4057-9667-7B69EF4D71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8915" y="1194198"/>
            <a:ext cx="5824240" cy="3438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EB551155-ADB6-4713-AD48-92A8C535A2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0260" y="250032"/>
            <a:ext cx="5822896" cy="6477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sv-SE"/>
              <a:t>Klicka här för att ändra mall för rubrikformat</a:t>
            </a: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63C4B2EE-2B48-4379-BBD1-4FA250447FE8}"/>
              </a:ext>
              <a:ext uri="{C183D7F6-B498-43B3-948B-1728B52AA6E4}">
                <adec:decorative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adec="http://schemas.microsoft.com/office/drawing/2017/decorative" val="1"/>
              </a:ext>
            </a:extLst>
          </p:cNvPr>
          <p:cNvPicPr>
            <a:picLocks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4913" y="250121"/>
            <a:ext cx="483113" cy="652399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06627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  <p:sldLayoutId id="2147483832" r:id="rId6"/>
    <p:sldLayoutId id="2147483833" r:id="rId7"/>
    <p:sldLayoutId id="2147483834" r:id="rId8"/>
  </p:sldLayoutIdLst>
  <p:transition/>
  <p:hf hdr="0"/>
  <p:txStyles>
    <p:titleStyle>
      <a:lvl1pPr algn="l" defTabSz="514350" rtl="0" eaLnBrk="1" latinLnBrk="0" hangingPunct="1">
        <a:lnSpc>
          <a:spcPct val="90000"/>
        </a:lnSpc>
        <a:spcBef>
          <a:spcPct val="0"/>
        </a:spcBef>
        <a:buNone/>
        <a:defRPr sz="2025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8588" indent="-128588" algn="l" defTabSz="51435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3857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‒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429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&gt;"/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9001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1572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‒"/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3" pos="713">
          <p15:clr>
            <a:srgbClr val="F26B43"/>
          </p15:clr>
        </p15:guide>
        <p15:guide id="4" pos="5454">
          <p15:clr>
            <a:srgbClr val="F26B43"/>
          </p15:clr>
        </p15:guide>
        <p15:guide id="6" pos="358">
          <p15:clr>
            <a:srgbClr val="F26B43"/>
          </p15:clr>
        </p15:guide>
        <p15:guide id="7" orient="horz" pos="158">
          <p15:clr>
            <a:srgbClr val="F26B43"/>
          </p15:clr>
        </p15:guide>
        <p15:guide id="8" orient="horz" pos="3084">
          <p15:clr>
            <a:srgbClr val="F26B43"/>
          </p15:clr>
        </p15:guide>
        <p15:guide id="9" pos="5605">
          <p15:clr>
            <a:srgbClr val="F26B43"/>
          </p15:clr>
        </p15:guide>
        <p15:guide id="10" pos="155">
          <p15:clr>
            <a:srgbClr val="F26B43"/>
          </p15:clr>
        </p15:guide>
        <p15:guide id="11" pos="560">
          <p15:clr>
            <a:srgbClr val="F26B43"/>
          </p15:clr>
        </p15:guide>
        <p15:guide id="12" orient="horz" pos="566">
          <p15:clr>
            <a:srgbClr val="F26B43"/>
          </p15:clr>
        </p15:guide>
        <p15:guide id="13" orient="horz" pos="752">
          <p15:clr>
            <a:srgbClr val="F26B43"/>
          </p15:clr>
        </p15:guide>
        <p15:guide id="14" orient="horz" pos="298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F9DBF7EF-8E59-4075-A8F0-EF49E121CA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26310" y="4902599"/>
            <a:ext cx="1543050" cy="23257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56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22A9A3-8636-4A04-BD48-3153280FB086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C9465249-3F3D-4589-A44C-3AA1952E4C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71713" y="4902599"/>
            <a:ext cx="2314575" cy="23257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56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80C11F1C-711C-4AD7-A25F-D2B3F451BB0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8640" y="4902599"/>
            <a:ext cx="1543050" cy="23257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6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BE8303-AD2F-DB4D-B8E2-7368B5FD02EE}" type="datetime1">
              <a:rPr lang="sv-SE" smtClean="0"/>
              <a:t>2023-09-12</a:t>
            </a:fld>
            <a:endParaRPr lang="sv-SE"/>
          </a:p>
        </p:txBody>
      </p:sp>
      <p:sp>
        <p:nvSpPr>
          <p:cNvPr id="54" name="Rektangel 53">
            <a:extLst>
              <a:ext uri="{FF2B5EF4-FFF2-40B4-BE49-F238E27FC236}">
                <a16:creationId xmlns:a16="http://schemas.microsoft.com/office/drawing/2014/main" id="{D263F704-88D1-4479-BA22-2920B7F3862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 userDrawn="1"/>
        </p:nvSpPr>
        <p:spPr>
          <a:xfrm>
            <a:off x="188063" y="4889099"/>
            <a:ext cx="6485093" cy="1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76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CEFDED03-B73B-4057-9667-7B69EF4D71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8915" y="1194198"/>
            <a:ext cx="5824240" cy="3438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EB551155-ADB6-4713-AD48-92A8C535A2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0260" y="250032"/>
            <a:ext cx="5822896" cy="6477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sv-SE"/>
              <a:t>Klicka här för att ändra mall för rubrikformat</a:t>
            </a: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63C4B2EE-2B48-4379-BBD1-4FA250447FE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84913" y="250121"/>
            <a:ext cx="483113" cy="652399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412125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  <p:sldLayoutId id="2147483840" r:id="rId5"/>
    <p:sldLayoutId id="2147483841" r:id="rId6"/>
    <p:sldLayoutId id="2147483842" r:id="rId7"/>
    <p:sldLayoutId id="2147483843" r:id="rId8"/>
  </p:sldLayoutIdLst>
  <p:hf hdr="0"/>
  <p:txStyles>
    <p:titleStyle>
      <a:lvl1pPr algn="l" defTabSz="514350" rtl="0" eaLnBrk="1" latinLnBrk="0" hangingPunct="1">
        <a:lnSpc>
          <a:spcPct val="90000"/>
        </a:lnSpc>
        <a:spcBef>
          <a:spcPct val="0"/>
        </a:spcBef>
        <a:buNone/>
        <a:defRPr sz="2025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8588" indent="-128588" algn="l" defTabSz="51435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3857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‒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429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&gt;"/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9001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1572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‒"/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3" pos="713">
          <p15:clr>
            <a:srgbClr val="F26B43"/>
          </p15:clr>
        </p15:guide>
        <p15:guide id="4" pos="5454">
          <p15:clr>
            <a:srgbClr val="F26B43"/>
          </p15:clr>
        </p15:guide>
        <p15:guide id="6" pos="358">
          <p15:clr>
            <a:srgbClr val="F26B43"/>
          </p15:clr>
        </p15:guide>
        <p15:guide id="7" orient="horz" pos="158">
          <p15:clr>
            <a:srgbClr val="F26B43"/>
          </p15:clr>
        </p15:guide>
        <p15:guide id="8" orient="horz" pos="3084">
          <p15:clr>
            <a:srgbClr val="F26B43"/>
          </p15:clr>
        </p15:guide>
        <p15:guide id="9" pos="5605">
          <p15:clr>
            <a:srgbClr val="F26B43"/>
          </p15:clr>
        </p15:guide>
        <p15:guide id="10" pos="155">
          <p15:clr>
            <a:srgbClr val="F26B43"/>
          </p15:clr>
        </p15:guide>
        <p15:guide id="11" pos="560">
          <p15:clr>
            <a:srgbClr val="F26B43"/>
          </p15:clr>
        </p15:guide>
        <p15:guide id="12" orient="horz" pos="566">
          <p15:clr>
            <a:srgbClr val="F26B43"/>
          </p15:clr>
        </p15:guide>
        <p15:guide id="13" orient="horz" pos="752">
          <p15:clr>
            <a:srgbClr val="F26B43"/>
          </p15:clr>
        </p15:guide>
        <p15:guide id="14" orient="horz" pos="298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214437" y="303652"/>
            <a:ext cx="5201841" cy="50125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 smtClean="0"/>
              <a:t>Klicka här för att ändra format</a:t>
            </a:r>
            <a:endParaRPr lang="en-GB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214437" y="1187055"/>
            <a:ext cx="5201841" cy="305871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 smtClean="0"/>
              <a:t>Klicka här för att ändra format på bakgrundstexten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tre</a:t>
            </a:r>
          </a:p>
          <a:p>
            <a:pPr lvl="3"/>
            <a:r>
              <a:rPr lang="sv-SE" dirty="0" smtClean="0"/>
              <a:t>Nivå fyra</a:t>
            </a:r>
          </a:p>
          <a:p>
            <a:pPr lvl="4"/>
            <a:r>
              <a:rPr lang="sv-SE" dirty="0" smtClean="0"/>
              <a:t>Nivå fem</a:t>
            </a:r>
            <a:endParaRPr lang="en-GB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224" y="258366"/>
            <a:ext cx="497062" cy="497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1214438" y="4731544"/>
            <a:ext cx="2171700" cy="27384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394" b="1" cap="all" baseline="0">
                <a:solidFill>
                  <a:schemeClr val="bg1"/>
                </a:solidFill>
              </a:defRPr>
            </a:lvl1pPr>
          </a:lstStyle>
          <a:p>
            <a:pPr>
              <a:lnSpc>
                <a:spcPts val="506"/>
              </a:lnSpc>
            </a:pP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6129301" y="4731544"/>
            <a:ext cx="398897" cy="27384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lang="en-GB" sz="394" b="1" cap="all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ts val="506"/>
              </a:lnSpc>
            </a:pPr>
            <a:fld id="{680D72F4-1C41-4187-A4BC-492CF086CF40}" type="slidenum">
              <a:rPr lang="sv-SE" smtClean="0"/>
              <a:pPr>
                <a:lnSpc>
                  <a:spcPts val="506"/>
                </a:lnSpc>
              </a:pPr>
              <a:t>‹#›</a:t>
            </a:fld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4185084" y="4716382"/>
            <a:ext cx="1600200" cy="27384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394" b="1" cap="all" baseline="0" smtClean="0"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506"/>
              </a:lnSpc>
            </a:pPr>
            <a:fld id="{CFCB38AA-14D0-4B67-BE5B-608C5A8A7489}" type="datetimeFigureOut">
              <a:rPr lang="sv-SE" smtClean="0"/>
              <a:pPr algn="r">
                <a:lnSpc>
                  <a:spcPts val="506"/>
                </a:lnSpc>
              </a:pPr>
              <a:t>2023-09-12</a:t>
            </a:fld>
            <a:endParaRPr lang="sv-SE" dirty="0"/>
          </a:p>
        </p:txBody>
      </p:sp>
      <p:sp>
        <p:nvSpPr>
          <p:cNvPr id="9" name="Rektangel 12"/>
          <p:cNvSpPr/>
          <p:nvPr/>
        </p:nvSpPr>
        <p:spPr>
          <a:xfrm>
            <a:off x="0" y="4478534"/>
            <a:ext cx="6858000" cy="681540"/>
          </a:xfrm>
          <a:custGeom>
            <a:avLst/>
            <a:gdLst>
              <a:gd name="connsiteX0" fmla="*/ 1360291 w 9144000"/>
              <a:gd name="connsiteY0" fmla="*/ 0 h 908720"/>
              <a:gd name="connsiteX1" fmla="*/ 9144000 w 9144000"/>
              <a:gd name="connsiteY1" fmla="*/ 0 h 908720"/>
              <a:gd name="connsiteX2" fmla="*/ 9144000 w 9144000"/>
              <a:gd name="connsiteY2" fmla="*/ 262632 h 908720"/>
              <a:gd name="connsiteX3" fmla="*/ 9144000 w 9144000"/>
              <a:gd name="connsiteY3" fmla="*/ 328588 h 908720"/>
              <a:gd name="connsiteX4" fmla="*/ 9144000 w 9144000"/>
              <a:gd name="connsiteY4" fmla="*/ 808061 h 908720"/>
              <a:gd name="connsiteX5" fmla="*/ 9144000 w 9144000"/>
              <a:gd name="connsiteY5" fmla="*/ 883320 h 908720"/>
              <a:gd name="connsiteX6" fmla="*/ 9144000 w 9144000"/>
              <a:gd name="connsiteY6" fmla="*/ 904652 h 908720"/>
              <a:gd name="connsiteX7" fmla="*/ 9065179 w 9144000"/>
              <a:gd name="connsiteY7" fmla="*/ 904652 h 908720"/>
              <a:gd name="connsiteX8" fmla="*/ 9043341 w 9144000"/>
              <a:gd name="connsiteY8" fmla="*/ 908720 h 908720"/>
              <a:gd name="connsiteX9" fmla="*/ 1259632 w 9144000"/>
              <a:gd name="connsiteY9" fmla="*/ 908720 h 908720"/>
              <a:gd name="connsiteX10" fmla="*/ 1259632 w 9144000"/>
              <a:gd name="connsiteY10" fmla="*/ 904652 h 908720"/>
              <a:gd name="connsiteX11" fmla="*/ 0 w 9144000"/>
              <a:gd name="connsiteY11" fmla="*/ 904652 h 908720"/>
              <a:gd name="connsiteX12" fmla="*/ 0 w 9144000"/>
              <a:gd name="connsiteY12" fmla="*/ 883320 h 908720"/>
              <a:gd name="connsiteX13" fmla="*/ 0 w 9144000"/>
              <a:gd name="connsiteY13" fmla="*/ 328588 h 908720"/>
              <a:gd name="connsiteX14" fmla="*/ 0 w 9144000"/>
              <a:gd name="connsiteY14" fmla="*/ 314003 h 908720"/>
              <a:gd name="connsiteX15" fmla="*/ 901401 w 9144000"/>
              <a:gd name="connsiteY15" fmla="*/ 314003 h 908720"/>
              <a:gd name="connsiteX16" fmla="*/ 1026319 w 9144000"/>
              <a:gd name="connsiteY16" fmla="*/ 314003 h 908720"/>
              <a:gd name="connsiteX17" fmla="*/ 1194387 w 9144000"/>
              <a:gd name="connsiteY17" fmla="*/ 314003 h 908720"/>
              <a:gd name="connsiteX18" fmla="*/ 1258275 w 9144000"/>
              <a:gd name="connsiteY18" fmla="*/ 262632 h 908720"/>
              <a:gd name="connsiteX19" fmla="*/ 1259632 w 9144000"/>
              <a:gd name="connsiteY19" fmla="*/ 262632 h 908720"/>
              <a:gd name="connsiteX20" fmla="*/ 1259632 w 9144000"/>
              <a:gd name="connsiteY20" fmla="*/ 255909 h 908720"/>
              <a:gd name="connsiteX21" fmla="*/ 1261441 w 9144000"/>
              <a:gd name="connsiteY21" fmla="*/ 246949 h 908720"/>
              <a:gd name="connsiteX22" fmla="*/ 1261441 w 9144000"/>
              <a:gd name="connsiteY22" fmla="*/ 91699 h 908720"/>
              <a:gd name="connsiteX23" fmla="*/ 1360291 w 9144000"/>
              <a:gd name="connsiteY23" fmla="*/ 0 h 90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9144000" h="908720">
                <a:moveTo>
                  <a:pt x="1360291" y="0"/>
                </a:moveTo>
                <a:lnTo>
                  <a:pt x="9144000" y="0"/>
                </a:lnTo>
                <a:lnTo>
                  <a:pt x="9144000" y="262632"/>
                </a:lnTo>
                <a:lnTo>
                  <a:pt x="9144000" y="328588"/>
                </a:lnTo>
                <a:lnTo>
                  <a:pt x="9144000" y="808061"/>
                </a:lnTo>
                <a:lnTo>
                  <a:pt x="9144000" y="883320"/>
                </a:lnTo>
                <a:lnTo>
                  <a:pt x="9144000" y="904652"/>
                </a:lnTo>
                <a:lnTo>
                  <a:pt x="9065179" y="904652"/>
                </a:lnTo>
                <a:cubicBezTo>
                  <a:pt x="9058414" y="907870"/>
                  <a:pt x="9050977" y="908720"/>
                  <a:pt x="9043341" y="908720"/>
                </a:cubicBezTo>
                <a:lnTo>
                  <a:pt x="1259632" y="908720"/>
                </a:lnTo>
                <a:lnTo>
                  <a:pt x="1259632" y="904652"/>
                </a:lnTo>
                <a:lnTo>
                  <a:pt x="0" y="904652"/>
                </a:lnTo>
                <a:lnTo>
                  <a:pt x="0" y="883320"/>
                </a:lnTo>
                <a:lnTo>
                  <a:pt x="0" y="328588"/>
                </a:lnTo>
                <a:lnTo>
                  <a:pt x="0" y="314003"/>
                </a:lnTo>
                <a:lnTo>
                  <a:pt x="901401" y="314003"/>
                </a:lnTo>
                <a:lnTo>
                  <a:pt x="1026319" y="314003"/>
                </a:lnTo>
                <a:lnTo>
                  <a:pt x="1194387" y="314003"/>
                </a:lnTo>
                <a:cubicBezTo>
                  <a:pt x="1225910" y="314003"/>
                  <a:pt x="1252353" y="292251"/>
                  <a:pt x="1258275" y="262632"/>
                </a:cubicBezTo>
                <a:lnTo>
                  <a:pt x="1259632" y="262632"/>
                </a:lnTo>
                <a:lnTo>
                  <a:pt x="1259632" y="255909"/>
                </a:lnTo>
                <a:lnTo>
                  <a:pt x="1261441" y="246949"/>
                </a:lnTo>
                <a:lnTo>
                  <a:pt x="1261441" y="91699"/>
                </a:lnTo>
                <a:cubicBezTo>
                  <a:pt x="1264629" y="40239"/>
                  <a:pt x="1260136" y="0"/>
                  <a:pt x="13602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760"/>
          </a:p>
        </p:txBody>
      </p:sp>
    </p:spTree>
    <p:extLst>
      <p:ext uri="{BB962C8B-B14F-4D97-AF65-F5344CB8AC3E}">
        <p14:creationId xmlns:p14="http://schemas.microsoft.com/office/powerpoint/2010/main" val="27518863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</p:sldLayoutIdLst>
  <p:timing>
    <p:tnLst>
      <p:par>
        <p:cTn id="1" dur="indefinite" restart="never" nodeType="tmRoot"/>
      </p:par>
    </p:tnLst>
  </p:timing>
  <p:txStyles>
    <p:titleStyle>
      <a:lvl1pPr algn="l" defTabSz="514350" rtl="0" eaLnBrk="1" latinLnBrk="0" hangingPunct="1">
        <a:lnSpc>
          <a:spcPts val="1688"/>
        </a:lnSpc>
        <a:spcBef>
          <a:spcPct val="0"/>
        </a:spcBef>
        <a:buNone/>
        <a:defRPr sz="1463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51435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None/>
        <a:defRPr sz="1125" kern="1200">
          <a:solidFill>
            <a:schemeClr val="tx1"/>
          </a:solidFill>
          <a:latin typeface="+mn-lt"/>
          <a:ea typeface="+mn-ea"/>
          <a:cs typeface="+mn-cs"/>
        </a:defRPr>
      </a:lvl1pPr>
      <a:lvl2pPr marL="200025" indent="-200025" algn="l" defTabSz="51435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2pPr>
      <a:lvl3pPr marL="407194" indent="-207169" algn="l" defTabSz="51435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605433" indent="-198239" algn="l" defTabSz="51435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4pPr>
      <a:lvl5pPr marL="863501" indent="-257175" algn="l" defTabSz="51435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1125" kern="1200">
          <a:solidFill>
            <a:schemeClr val="tx1"/>
          </a:solidFill>
          <a:latin typeface="+mn-lt"/>
          <a:ea typeface="+mn-ea"/>
          <a:cs typeface="+mn-cs"/>
        </a:defRPr>
      </a:lvl5pPr>
      <a:lvl6pPr marL="1414463" indent="-128588" algn="l" defTabSz="514350" rtl="0" eaLnBrk="1" latinLnBrk="0" hangingPunct="1">
        <a:spcBef>
          <a:spcPct val="20000"/>
        </a:spcBef>
        <a:buFont typeface="Arial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spcBef>
          <a:spcPct val="20000"/>
        </a:spcBef>
        <a:buFont typeface="Arial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spcBef>
          <a:spcPct val="20000"/>
        </a:spcBef>
        <a:buFont typeface="Arial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spcBef>
          <a:spcPct val="20000"/>
        </a:spcBef>
        <a:buFont typeface="Arial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intra.kth.se/anstallning/arbetsmiljo/medarbetarundersokning/kth-medarbetarpuls-1.1217460" TargetMode="External"/><Relationship Id="rId2" Type="http://schemas.openxmlformats.org/officeDocument/2006/relationships/hyperlink" Target="mailto:noreply@populum.io" TargetMode="Externa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.xml"/><Relationship Id="rId13" Type="http://schemas.openxmlformats.org/officeDocument/2006/relationships/chart" Target="../charts/chart12.xml"/><Relationship Id="rId18" Type="http://schemas.openxmlformats.org/officeDocument/2006/relationships/chart" Target="../charts/chart17.xml"/><Relationship Id="rId26" Type="http://schemas.openxmlformats.org/officeDocument/2006/relationships/image" Target="../media/image19.png"/><Relationship Id="rId3" Type="http://schemas.openxmlformats.org/officeDocument/2006/relationships/chart" Target="../charts/chart2.xml"/><Relationship Id="rId21" Type="http://schemas.openxmlformats.org/officeDocument/2006/relationships/chart" Target="../charts/chart20.xml"/><Relationship Id="rId34" Type="http://schemas.openxmlformats.org/officeDocument/2006/relationships/image" Target="../media/image27.png"/><Relationship Id="rId7" Type="http://schemas.openxmlformats.org/officeDocument/2006/relationships/chart" Target="../charts/chart6.xml"/><Relationship Id="rId12" Type="http://schemas.openxmlformats.org/officeDocument/2006/relationships/chart" Target="../charts/chart11.xml"/><Relationship Id="rId17" Type="http://schemas.openxmlformats.org/officeDocument/2006/relationships/chart" Target="../charts/chart16.xml"/><Relationship Id="rId25" Type="http://schemas.openxmlformats.org/officeDocument/2006/relationships/image" Target="../media/image18.png"/><Relationship Id="rId33" Type="http://schemas.openxmlformats.org/officeDocument/2006/relationships/image" Target="../media/image26.png"/><Relationship Id="rId2" Type="http://schemas.openxmlformats.org/officeDocument/2006/relationships/chart" Target="../charts/chart1.xml"/><Relationship Id="rId16" Type="http://schemas.openxmlformats.org/officeDocument/2006/relationships/chart" Target="../charts/chart15.xml"/><Relationship Id="rId20" Type="http://schemas.openxmlformats.org/officeDocument/2006/relationships/chart" Target="../charts/chart19.xml"/><Relationship Id="rId29" Type="http://schemas.openxmlformats.org/officeDocument/2006/relationships/image" Target="../media/image22.png"/><Relationship Id="rId1" Type="http://schemas.openxmlformats.org/officeDocument/2006/relationships/slideLayout" Target="../slideLayouts/slideLayout16.xml"/><Relationship Id="rId6" Type="http://schemas.openxmlformats.org/officeDocument/2006/relationships/chart" Target="../charts/chart5.xml"/><Relationship Id="rId11" Type="http://schemas.openxmlformats.org/officeDocument/2006/relationships/chart" Target="../charts/chart10.xml"/><Relationship Id="rId24" Type="http://schemas.openxmlformats.org/officeDocument/2006/relationships/image" Target="../media/image17.png"/><Relationship Id="rId32" Type="http://schemas.openxmlformats.org/officeDocument/2006/relationships/image" Target="../media/image25.png"/><Relationship Id="rId5" Type="http://schemas.openxmlformats.org/officeDocument/2006/relationships/chart" Target="../charts/chart4.xml"/><Relationship Id="rId15" Type="http://schemas.openxmlformats.org/officeDocument/2006/relationships/chart" Target="../charts/chart14.xml"/><Relationship Id="rId23" Type="http://schemas.openxmlformats.org/officeDocument/2006/relationships/image" Target="../media/image16.png"/><Relationship Id="rId28" Type="http://schemas.openxmlformats.org/officeDocument/2006/relationships/image" Target="../media/image21.png"/><Relationship Id="rId10" Type="http://schemas.openxmlformats.org/officeDocument/2006/relationships/chart" Target="../charts/chart9.xml"/><Relationship Id="rId19" Type="http://schemas.openxmlformats.org/officeDocument/2006/relationships/chart" Target="../charts/chart18.xml"/><Relationship Id="rId31" Type="http://schemas.openxmlformats.org/officeDocument/2006/relationships/image" Target="../media/image24.png"/><Relationship Id="rId4" Type="http://schemas.openxmlformats.org/officeDocument/2006/relationships/chart" Target="../charts/chart3.xml"/><Relationship Id="rId9" Type="http://schemas.openxmlformats.org/officeDocument/2006/relationships/chart" Target="../charts/chart8.xml"/><Relationship Id="rId14" Type="http://schemas.openxmlformats.org/officeDocument/2006/relationships/chart" Target="../charts/chart13.xml"/><Relationship Id="rId22" Type="http://schemas.openxmlformats.org/officeDocument/2006/relationships/chart" Target="../charts/chart21.xml"/><Relationship Id="rId27" Type="http://schemas.openxmlformats.org/officeDocument/2006/relationships/image" Target="../media/image20.png"/><Relationship Id="rId30" Type="http://schemas.openxmlformats.org/officeDocument/2006/relationships/image" Target="../media/image23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1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.xml"/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5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.xml"/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2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.xml"/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.xml"/><Relationship Id="rId2" Type="http://schemas.openxmlformats.org/officeDocument/2006/relationships/chart" Target="../charts/chart30.xml"/><Relationship Id="rId1" Type="http://schemas.openxmlformats.org/officeDocument/2006/relationships/slideLayout" Target="../slideLayouts/slideLayout1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.xml"/><Relationship Id="rId2" Type="http://schemas.openxmlformats.org/officeDocument/2006/relationships/chart" Target="../charts/chart32.xml"/><Relationship Id="rId1" Type="http://schemas.openxmlformats.org/officeDocument/2006/relationships/slideLayout" Target="../slideLayouts/slideLayout16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hyperlink" Target="https://intra.kth.se/styrning/gemensamt-samordnat-verksamhetsstod/varfor-samordnat/beslut-och-tidplan-for-utveckling-av-verksamhetsstodet-1.1154063" TargetMode="External"/><Relationship Id="rId2" Type="http://schemas.openxmlformats.org/officeDocument/2006/relationships/hyperlink" Target="https://intra.kth.se/styrning/gemensamt-samordnat-verksamhetsstod" TargetMode="External"/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hyperlink" Target="mailto:hska@kth.se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527FB4B-7893-4946-9C41-FB1EB79145A0}" type="slidenum">
              <a:rPr lang="sv-SE" smtClean="0"/>
              <a:t>1</a:t>
            </a:fld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A612C29-4FF1-4A4F-A907-03CBB0EDED27}" type="datetime1">
              <a:rPr lang="sv-SE" smtClean="0"/>
              <a:t>2023-09-12</a:t>
            </a:fld>
            <a:endParaRPr lang="sv-SE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321442" y="0"/>
            <a:ext cx="8428129" cy="50643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2486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752622" y="2646115"/>
            <a:ext cx="5767753" cy="399539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514350" eaLnBrk="1" fontAlgn="auto" hangingPunct="1">
              <a:spcBef>
                <a:spcPts val="0"/>
              </a:spcBef>
              <a:spcAft>
                <a:spcPts val="0"/>
              </a:spcAft>
            </a:pPr>
            <a:endParaRPr lang="sv-SE" sz="1500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2" name="Platshållare för bild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514350" eaLnBrk="1" fontAlgn="auto" hangingPunct="1">
              <a:spcBef>
                <a:spcPts val="0"/>
              </a:spcBef>
              <a:spcAft>
                <a:spcPts val="0"/>
              </a:spcAft>
            </a:pPr>
            <a:fld id="{7422A9A3-8636-4A04-BD48-3153280FB086}" type="slidenum">
              <a:rPr lang="sv-SE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pPr defTabSz="514350" eaLnBrk="1" fontAlgn="auto" hangingPunct="1">
                <a:spcBef>
                  <a:spcPts val="0"/>
                </a:spcBef>
                <a:spcAft>
                  <a:spcPts val="0"/>
                </a:spcAft>
              </a:pPr>
              <a:t>10</a:t>
            </a:fld>
            <a:endParaRPr lang="sv-SE">
              <a:solidFill>
                <a:srgbClr val="000000">
                  <a:tint val="75000"/>
                </a:srgbClr>
              </a:solidFill>
              <a:latin typeface="Arial" panose="020B0604020202020204"/>
            </a:endParaRPr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514350" eaLnBrk="1" fontAlgn="auto" hangingPunct="1">
              <a:spcBef>
                <a:spcPts val="0"/>
              </a:spcBef>
              <a:spcAft>
                <a:spcPts val="0"/>
              </a:spcAft>
            </a:pPr>
            <a:endParaRPr lang="sv-SE">
              <a:solidFill>
                <a:srgbClr val="000000">
                  <a:tint val="75000"/>
                </a:srgbClr>
              </a:solidFill>
              <a:latin typeface="Arial" panose="020B0604020202020204"/>
            </a:endParaRP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514350" eaLnBrk="1" fontAlgn="auto" hangingPunct="1">
              <a:spcBef>
                <a:spcPts val="0"/>
              </a:spcBef>
              <a:spcAft>
                <a:spcPts val="0"/>
              </a:spcAft>
            </a:pPr>
            <a:fld id="{95D3F4D8-4BE6-D743-AE27-D14757A6F270}" type="datetime1">
              <a:rPr lang="sv-SE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pPr defTabSz="514350" eaLnBrk="1" fontAlgn="auto" hangingPunct="1">
                <a:spcBef>
                  <a:spcPts val="0"/>
                </a:spcBef>
                <a:spcAft>
                  <a:spcPts val="0"/>
                </a:spcAft>
              </a:pPr>
              <a:t>2023-09-12</a:t>
            </a:fld>
            <a:endParaRPr lang="sv-SE">
              <a:solidFill>
                <a:srgbClr val="000000">
                  <a:tint val="75000"/>
                </a:srgbClr>
              </a:solidFill>
              <a:latin typeface="Arial" panose="020B0604020202020204"/>
            </a:endParaRPr>
          </a:p>
        </p:txBody>
      </p:sp>
      <p:sp>
        <p:nvSpPr>
          <p:cNvPr id="5" name="Platshållare för innehåll 4"/>
          <p:cNvSpPr>
            <a:spLocks noGrp="1"/>
          </p:cNvSpPr>
          <p:nvPr>
            <p:ph sz="quarter" idx="13"/>
          </p:nvPr>
        </p:nvSpPr>
        <p:spPr>
          <a:xfrm>
            <a:off x="850260" y="1572321"/>
            <a:ext cx="5578675" cy="2655689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sv-SE" sz="1050" dirty="0"/>
              <a:t>KTH är ett lärosäte med utpräglad linjestyrning och med lite kollegialt inflytande (Ahlbäck Öberg &amp; Boberg, 2022);</a:t>
            </a:r>
            <a:endParaRPr lang="sv-SE" sz="1050" dirty="0">
              <a:cs typeface="Arial"/>
            </a:endParaRPr>
          </a:p>
          <a:p>
            <a:pPr marL="0" indent="0">
              <a:buNone/>
            </a:pPr>
            <a:endParaRPr lang="sv-SE" sz="788" dirty="0"/>
          </a:p>
          <a:p>
            <a:r>
              <a:rPr lang="sv-SE" sz="1050" b="1" dirty="0"/>
              <a:t>Ny </a:t>
            </a:r>
            <a:r>
              <a:rPr lang="sv-SE" sz="1050" b="1" dirty="0" smtClean="0"/>
              <a:t>rektor december 2022 </a:t>
            </a:r>
            <a:r>
              <a:rPr lang="sv-SE" sz="1050" dirty="0"/>
              <a:t>som ser behov av att se över KTH:s beslutsstruktur och hur vi bereder arbete för beslut, effektivitets- och </a:t>
            </a:r>
            <a:r>
              <a:rPr lang="sv-SE" sz="1050" dirty="0" smtClean="0"/>
              <a:t>kvalitetsdrivet.</a:t>
            </a:r>
            <a:endParaRPr lang="sv-SE" sz="1050" dirty="0">
              <a:cs typeface="Arial"/>
            </a:endParaRPr>
          </a:p>
          <a:p>
            <a:endParaRPr lang="sv-SE" sz="788" dirty="0"/>
          </a:p>
          <a:p>
            <a:r>
              <a:rPr lang="sv-SE" sz="1050" dirty="0"/>
              <a:t>Utredning om hur </a:t>
            </a:r>
            <a:r>
              <a:rPr lang="sv-SE" sz="1050" b="1" dirty="0"/>
              <a:t>beredning och beslutsfattande kan flyttas närmre kärnverksamheten </a:t>
            </a:r>
            <a:r>
              <a:rPr lang="sv-SE" sz="1050" dirty="0"/>
              <a:t>på KTH, utredare Gunnar Svedberg, genomförd </a:t>
            </a:r>
            <a:r>
              <a:rPr lang="sv-SE" sz="1050" dirty="0" smtClean="0"/>
              <a:t>VT2023</a:t>
            </a:r>
            <a:endParaRPr lang="sv-SE" sz="1050" dirty="0"/>
          </a:p>
          <a:p>
            <a:endParaRPr lang="sv-SE" sz="788" dirty="0"/>
          </a:p>
          <a:p>
            <a:r>
              <a:rPr lang="sv-SE" sz="1050" dirty="0"/>
              <a:t>Rektorsbeslut om arbetsgrupp för införande av struktur för kollegialt inflytande och beslutsfattande på KTH. </a:t>
            </a:r>
          </a:p>
        </p:txBody>
      </p:sp>
      <p:sp>
        <p:nvSpPr>
          <p:cNvPr id="6" name="Rubrik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Bakgrund</a:t>
            </a:r>
          </a:p>
        </p:txBody>
      </p:sp>
    </p:spTree>
    <p:extLst>
      <p:ext uri="{BB962C8B-B14F-4D97-AF65-F5344CB8AC3E}">
        <p14:creationId xmlns:p14="http://schemas.microsoft.com/office/powerpoint/2010/main" val="19540037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9546105-9EE0-35DD-FBAA-0B503921BB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514350" eaLnBrk="1" fontAlgn="auto" hangingPunct="1">
              <a:spcBef>
                <a:spcPts val="0"/>
              </a:spcBef>
              <a:spcAft>
                <a:spcPts val="0"/>
              </a:spcAft>
            </a:pPr>
            <a:fld id="{7422A9A3-8636-4A04-BD48-3153280FB086}" type="slidenum">
              <a:rPr lang="sv-SE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pPr defTabSz="514350" eaLnBrk="1" fontAlgn="auto" hangingPunct="1">
                <a:spcBef>
                  <a:spcPts val="0"/>
                </a:spcBef>
                <a:spcAft>
                  <a:spcPts val="0"/>
                </a:spcAft>
              </a:pPr>
              <a:t>11</a:t>
            </a:fld>
            <a:endParaRPr lang="sv-SE">
              <a:solidFill>
                <a:srgbClr val="000000">
                  <a:tint val="75000"/>
                </a:srgbClr>
              </a:solidFill>
              <a:latin typeface="Arial" panose="020B0604020202020204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3D5380-1BF2-9310-A8E0-8B4618399A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514350" eaLnBrk="1" fontAlgn="auto" hangingPunct="1">
              <a:spcBef>
                <a:spcPts val="0"/>
              </a:spcBef>
              <a:spcAft>
                <a:spcPts val="0"/>
              </a:spcAft>
            </a:pPr>
            <a:endParaRPr lang="sv-SE">
              <a:solidFill>
                <a:srgbClr val="000000">
                  <a:tint val="75000"/>
                </a:srgbClr>
              </a:solidFill>
              <a:latin typeface="Arial" panose="020B0604020202020204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7A84E2-6455-779C-203F-B3BEBCC29A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514350" eaLnBrk="1" fontAlgn="auto" hangingPunct="1">
              <a:spcBef>
                <a:spcPts val="0"/>
              </a:spcBef>
              <a:spcAft>
                <a:spcPts val="0"/>
              </a:spcAft>
            </a:pPr>
            <a:fld id="{95D3F4D8-4BE6-D743-AE27-D14757A6F270}" type="datetime1">
              <a:rPr lang="sv-SE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pPr defTabSz="514350" eaLnBrk="1" fontAlgn="auto" hangingPunct="1">
                <a:spcBef>
                  <a:spcPts val="0"/>
                </a:spcBef>
                <a:spcAft>
                  <a:spcPts val="0"/>
                </a:spcAft>
              </a:pPr>
              <a:t>2023-09-12</a:t>
            </a:fld>
            <a:endParaRPr lang="sv-SE">
              <a:solidFill>
                <a:srgbClr val="000000">
                  <a:tint val="75000"/>
                </a:srgbClr>
              </a:solidFill>
              <a:latin typeface="Arial" panose="020B0604020202020204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B726831-8F3F-6570-6CB9-E7ADE667440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sv-SE" dirty="0"/>
              <a:t>Kollegial beredning och kollegiala beslut ska ske på ”rätt” nivå </a:t>
            </a:r>
            <a:r>
              <a:rPr lang="sv-SE" dirty="0" smtClean="0"/>
              <a:t>– därav flyttas ansvar från individer till nämnd och </a:t>
            </a:r>
            <a:r>
              <a:rPr lang="sv-SE" b="1" dirty="0" smtClean="0"/>
              <a:t>från KTH-nivå till skolnivå</a:t>
            </a:r>
          </a:p>
          <a:p>
            <a:endParaRPr lang="sv-SE" b="1" dirty="0" smtClean="0"/>
          </a:p>
          <a:p>
            <a:pPr lvl="1"/>
            <a:r>
              <a:rPr lang="sv-SE" b="1" dirty="0" smtClean="0"/>
              <a:t>Utbildningens</a:t>
            </a:r>
            <a:r>
              <a:rPr lang="sv-SE" dirty="0" smtClean="0"/>
              <a:t> uppläggning, genomförande och kvalitetssäkring regleras på flera sätt tydligt för oss som myndighet och innehåller ett flertal berednings- och beslutsfrågor som </a:t>
            </a:r>
            <a:r>
              <a:rPr lang="sv-SE" b="1" dirty="0" smtClean="0"/>
              <a:t>ska ske nära verksamheten </a:t>
            </a:r>
            <a:r>
              <a:rPr lang="sv-SE" dirty="0" smtClean="0"/>
              <a:t>med vetenskaplig och pedagogisk kompetens</a:t>
            </a:r>
            <a:br>
              <a:rPr lang="sv-SE" dirty="0" smtClean="0"/>
            </a:br>
            <a:endParaRPr lang="sv-SE" dirty="0" smtClean="0"/>
          </a:p>
          <a:p>
            <a:pPr lvl="1"/>
            <a:r>
              <a:rPr lang="sv-SE" b="1" dirty="0" smtClean="0"/>
              <a:t>Forskningen</a:t>
            </a:r>
            <a:r>
              <a:rPr lang="sv-SE" dirty="0" smtClean="0"/>
              <a:t> </a:t>
            </a:r>
            <a:r>
              <a:rPr lang="sv-SE" dirty="0"/>
              <a:t>är i många avseenden ”forskarautonom” men organisering, kvalitetsuppföljning och i vissa avseende den strategiska utvecklingen gynnas av en gemensam ledning och </a:t>
            </a:r>
            <a:r>
              <a:rPr lang="sv-SE" b="1" dirty="0"/>
              <a:t>ska ske nära verksamheten</a:t>
            </a:r>
            <a:r>
              <a:rPr lang="sv-SE" dirty="0"/>
              <a:t> med vetenskaplig och pedagogisk </a:t>
            </a:r>
            <a:r>
              <a:rPr lang="sv-SE" dirty="0" smtClean="0"/>
              <a:t>kompetens</a:t>
            </a:r>
            <a:br>
              <a:rPr lang="sv-SE" dirty="0" smtClean="0"/>
            </a:br>
            <a:endParaRPr lang="sv-SE" dirty="0"/>
          </a:p>
          <a:p>
            <a:pPr lvl="1"/>
            <a:r>
              <a:rPr lang="sv-SE" b="1" dirty="0"/>
              <a:t>Anställningar och befordringar </a:t>
            </a:r>
            <a:r>
              <a:rPr lang="sv-SE" dirty="0"/>
              <a:t>av lärare är en betydelsefull och kvalitetskritisk uppgift som också den </a:t>
            </a:r>
            <a:r>
              <a:rPr lang="sv-SE" b="1" dirty="0"/>
              <a:t>ska ske nära verksamheten </a:t>
            </a:r>
            <a:r>
              <a:rPr lang="sv-SE" dirty="0"/>
              <a:t>med vetenskaplig och pedagogisk kompetens</a:t>
            </a:r>
          </a:p>
          <a:p>
            <a:endParaRPr lang="sv-SE" dirty="0"/>
          </a:p>
          <a:p>
            <a:r>
              <a:rPr lang="sv-SE" dirty="0"/>
              <a:t>En </a:t>
            </a:r>
            <a:r>
              <a:rPr lang="sv-SE" dirty="0" smtClean="0"/>
              <a:t>”</a:t>
            </a:r>
            <a:r>
              <a:rPr lang="sv-SE" sz="1400" b="1" dirty="0" smtClean="0"/>
              <a:t>skolfakultetsnämnd”</a:t>
            </a:r>
            <a:r>
              <a:rPr lang="sv-SE" dirty="0" smtClean="0"/>
              <a:t> </a:t>
            </a:r>
            <a:r>
              <a:rPr lang="sv-SE" dirty="0"/>
              <a:t>bör hantera övergripande och kvalitetskritiska frågor som kräver kollegial bedömning</a:t>
            </a:r>
          </a:p>
          <a:p>
            <a:endParaRPr lang="sv-SE" dirty="0"/>
          </a:p>
          <a:p>
            <a:pPr marL="0" indent="0">
              <a:buNone/>
            </a:pPr>
            <a:endParaRPr lang="sv-SE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12858AB-FA17-0EDE-715A-4CD1A8DAB2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Förändring av styrningen på KTH</a:t>
            </a:r>
          </a:p>
        </p:txBody>
      </p:sp>
    </p:spTree>
    <p:extLst>
      <p:ext uri="{BB962C8B-B14F-4D97-AF65-F5344CB8AC3E}">
        <p14:creationId xmlns:p14="http://schemas.microsoft.com/office/powerpoint/2010/main" val="31908983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/>
          <p:cNvSpPr/>
          <p:nvPr/>
        </p:nvSpPr>
        <p:spPr>
          <a:xfrm>
            <a:off x="3915054" y="897732"/>
            <a:ext cx="2942946" cy="4237441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kola</a:t>
            </a:r>
            <a:endParaRPr kumimoji="0" lang="sv-SE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1" y="897732"/>
            <a:ext cx="3915053" cy="4237441"/>
          </a:xfrm>
          <a:prstGeom prst="round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ntralt</a:t>
            </a:r>
            <a:endParaRPr kumimoji="0" lang="sv-SE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293895" y="412511"/>
            <a:ext cx="728770" cy="336884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09E1E0D-5902-EED8-EA2B-B1A5514ABE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22A9A3-8636-4A04-BD48-3153280FB086}" type="slidenum">
              <a:rPr kumimoji="0" lang="sv-SE" sz="563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sv-SE" sz="563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587A72-F1D8-E6B4-A998-41CB31241F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563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DD3C2FC-B879-7B00-61A9-4D13B883C1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D3F4D8-4BE6-D743-AE27-D14757A6F270}" type="datetime1">
              <a:rPr kumimoji="0" lang="sv-SE" sz="563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-09-12</a:t>
            </a:fld>
            <a:endParaRPr kumimoji="0" lang="sv-SE" sz="563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2339786-29CD-DE14-E8F6-012082E46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TH:s kollegialt sammansatta organ i dag</a:t>
            </a:r>
          </a:p>
        </p:txBody>
      </p:sp>
      <p:sp>
        <p:nvSpPr>
          <p:cNvPr id="9" name="Right Arrow 8"/>
          <p:cNvSpPr/>
          <p:nvPr/>
        </p:nvSpPr>
        <p:spPr>
          <a:xfrm>
            <a:off x="27005" y="1744394"/>
            <a:ext cx="4049686" cy="3946189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000" dirty="0"/>
          </a:p>
        </p:txBody>
      </p:sp>
      <p:sp>
        <p:nvSpPr>
          <p:cNvPr id="11" name="Platshållare för innehåll 4">
            <a:extLst>
              <a:ext uri="{FF2B5EF4-FFF2-40B4-BE49-F238E27FC236}">
                <a16:creationId xmlns:a16="http://schemas.microsoft.com/office/drawing/2014/main" id="{8ECDAAAF-1B63-A168-D662-AE865322A7B6}"/>
              </a:ext>
            </a:extLst>
          </p:cNvPr>
          <p:cNvSpPr txBox="1">
            <a:spLocks/>
          </p:cNvSpPr>
          <p:nvPr/>
        </p:nvSpPr>
        <p:spPr>
          <a:xfrm>
            <a:off x="27004" y="1685716"/>
            <a:ext cx="3915053" cy="3216883"/>
          </a:xfrm>
          <a:prstGeom prst="rect">
            <a:avLst/>
          </a:prstGeom>
        </p:spPr>
        <p:txBody>
          <a:bodyPr vert="horz" lIns="68580" tIns="34290" rIns="68580" bIns="34290" rtlCol="0">
            <a:normAutofit fontScale="70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˃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575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akultetsrådet </a:t>
            </a:r>
            <a:r>
              <a:rPr kumimoji="0" lang="sv-SE" sz="1575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efter val)</a:t>
            </a:r>
          </a:p>
          <a:p>
            <a:pPr marL="514337" marR="0" lvl="1" indent="-171446" algn="l" defTabSz="685800" rtl="0" eaLnBrk="1" fontAlgn="auto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sv-SE" sz="13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Övergripande ansvar för att utveckla kvalitén i KTH:s utbildning/forskning och i rekrytering/befordring; rådgivare åt rektor; länk mellan KTH:s ledning och KTH:s lärare och forskare; skapa förutsättningar för kollegialt utbyte (t ex genom Kollegialt forum)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575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tikutskottet (av FR)</a:t>
            </a:r>
          </a:p>
          <a:p>
            <a:pPr marL="514337" marR="0" lvl="1" indent="-171446" algn="l" defTabSz="685800" rtl="0" eaLnBrk="1" fontAlgn="auto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sv-SE" sz="13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tikrådgivning, avvikelsehantering, dialog och kompetensutveckling om etiska frågor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575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bildningsnämnden (FR samråd vice rektor)</a:t>
            </a:r>
          </a:p>
          <a:p>
            <a:pPr marL="514337" marR="0" lvl="1" indent="-171446" algn="l" defTabSz="685800" rtl="0" eaLnBrk="1" fontAlgn="auto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sv-SE" sz="13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rättande och avveckling program/FU-ämnen; dimensionering utbildning; styrning utbildning; granskar allmänna studieplaner/doktorsprogram; driver strategiska utvecklingsfrågor, 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575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undutbildningsutskottet, Forskarutbildningsutskottet, Utbildningsadministrativa (indirekt skolchef)</a:t>
            </a:r>
          </a:p>
          <a:p>
            <a:pPr marL="514337" marR="0" lvl="1" indent="-171446" algn="l" defTabSz="685800" rtl="0" eaLnBrk="1" fontAlgn="auto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sv-SE" sz="13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skotten planerar, diskuterar och bereder frågor om utbildningarna på KTH, 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575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ställningsnämnden (FR samråd vice rektor)</a:t>
            </a:r>
          </a:p>
          <a:p>
            <a:pPr marL="514337" marR="0" lvl="1" indent="-171446" algn="l" defTabSz="685800" rtl="0" eaLnBrk="1" fontAlgn="auto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sv-SE" sz="13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ser sakkunniga i anställningar/befordran/docent; råd till rektor om anställningsprofil, anställning, kvalitetssäkring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575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fordringsnämnden (AN)</a:t>
            </a:r>
          </a:p>
          <a:p>
            <a:pPr marL="514337" marR="0" lvl="1" indent="-171446" algn="l" defTabSz="685800" rtl="0" eaLnBrk="1" fontAlgn="auto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sv-SE" sz="135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rvjuar sökande och föreslår beslut</a:t>
            </a:r>
          </a:p>
        </p:txBody>
      </p:sp>
      <p:sp>
        <p:nvSpPr>
          <p:cNvPr id="10" name="Down Arrow 9"/>
          <p:cNvSpPr/>
          <p:nvPr/>
        </p:nvSpPr>
        <p:spPr>
          <a:xfrm>
            <a:off x="3536206" y="911873"/>
            <a:ext cx="3539006" cy="4312255"/>
          </a:xfrm>
          <a:prstGeom prst="downArrow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sv-SE" sz="1200" b="1" dirty="0" smtClean="0">
              <a:solidFill>
                <a:srgbClr val="002060"/>
              </a:solidFill>
            </a:endParaRPr>
          </a:p>
        </p:txBody>
      </p:sp>
      <p:sp>
        <p:nvSpPr>
          <p:cNvPr id="12" name="Platshållare för innehåll 4">
            <a:extLst>
              <a:ext uri="{FF2B5EF4-FFF2-40B4-BE49-F238E27FC236}">
                <a16:creationId xmlns:a16="http://schemas.microsoft.com/office/drawing/2014/main" id="{B58F4817-A459-30D5-DC2C-ECE1B6BF35B3}"/>
              </a:ext>
            </a:extLst>
          </p:cNvPr>
          <p:cNvSpPr txBox="1">
            <a:spLocks/>
          </p:cNvSpPr>
          <p:nvPr/>
        </p:nvSpPr>
        <p:spPr>
          <a:xfrm>
            <a:off x="3969060" y="1685716"/>
            <a:ext cx="2808312" cy="2821933"/>
          </a:xfrm>
          <a:prstGeom prst="rect">
            <a:avLst/>
          </a:prstGeom>
        </p:spPr>
        <p:txBody>
          <a:bodyPr vert="horz" lIns="68580" tIns="34290" rIns="68580" bIns="34290" rtlCol="0">
            <a:normAutofit fontScale="77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˃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42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kolchefens strategiska råd (efter val)</a:t>
            </a:r>
          </a:p>
          <a:p>
            <a:pPr marL="514337" marR="0" lvl="1" indent="-171446" algn="l" defTabSz="685800" rtl="0" eaLnBrk="1" fontAlgn="auto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ådgivande organ till skolchefen i viktigare ärenden som rör skolans organisation, utvecklingsplan, verksamhetsplan, verksamhetsberättelse, övergripande frågor rörande utbildning samt andra ärenden av stor vikt för skolan som skolchefen bedömer att strategiska rådet bör rådfrågas om.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425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kryteringskommitté </a:t>
            </a:r>
            <a:r>
              <a:rPr kumimoji="0" lang="sv-SE" sz="142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kolchef samråd)</a:t>
            </a:r>
          </a:p>
          <a:p>
            <a:pPr marL="514337" marR="0" lvl="1" indent="-171446" algn="l" defTabSz="685800" rtl="0" eaLnBrk="1" fontAlgn="auto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sv-SE" sz="112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rvjuar sökande och föreslår vem som bör anställas; bildar </a:t>
            </a:r>
            <a:r>
              <a:rPr kumimoji="0" lang="sv-SE" sz="1125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ökkommittér</a:t>
            </a:r>
            <a:endParaRPr kumimoji="0" lang="sv-SE" sz="1125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42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centkommittén (skolchef samråd)</a:t>
            </a:r>
          </a:p>
          <a:p>
            <a:pPr marL="514337" marR="0" lvl="1" indent="-171446" algn="l" defTabSz="685800" rtl="0" eaLnBrk="1" fontAlgn="auto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sv-SE" sz="112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övar sökandes pedagogiska skicklighet, gör sammantagen bedömning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42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kolkollegium (efter val)</a:t>
            </a:r>
          </a:p>
          <a:p>
            <a:pPr marL="514337" marR="0" lvl="1" indent="-171446" algn="l" defTabSz="685800" rtl="0" eaLnBrk="1" fontAlgn="auto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sv-SE" sz="112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örankring av KTH:s utvecklingsfrågor, lyfter kollegiala frågor med betydelse för </a:t>
            </a:r>
            <a:r>
              <a:rPr kumimoji="0" lang="sv-SE" sz="1125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rksamheten</a:t>
            </a:r>
            <a:endParaRPr kumimoji="0" lang="sv-SE" sz="1125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14317" marR="0" lvl="0" indent="-214313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27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valitetsråd (GA/FA)</a:t>
            </a:r>
          </a:p>
          <a:p>
            <a:pPr marL="214317" marR="0" lvl="0" indent="-214313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27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gramråd (indirekt GA/FA, skolchef)</a:t>
            </a:r>
          </a:p>
          <a:p>
            <a:pPr marL="342892" marR="0" lvl="1" indent="0" algn="l" defTabSz="685800" rtl="0" eaLnBrk="1" fontAlgn="auto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sv-SE" sz="135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892" marR="0" lvl="1" indent="0" algn="l" defTabSz="685800" rtl="0" eaLnBrk="1" fontAlgn="auto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sv-SE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013869" y="4784698"/>
            <a:ext cx="2718693" cy="30777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none" lIns="0" tIns="0" rIns="0" bIns="0" rtlCol="0" anchor="ctr">
            <a:spAutoFit/>
          </a:bodyPr>
          <a:lstStyle/>
          <a:p>
            <a:r>
              <a:rPr lang="sv-SE" sz="2000" b="1" dirty="0" smtClean="0">
                <a:solidFill>
                  <a:srgbClr val="002060"/>
                </a:solidFill>
              </a:rPr>
              <a:t>  Skolfakultetsnämnd  </a:t>
            </a:r>
            <a:endParaRPr lang="sv-SE" sz="20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4380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1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3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814763" y="1477967"/>
            <a:ext cx="1261541" cy="17145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00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A4F13B1-4D6B-CBC0-8BB1-19D856EB32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514350" eaLnBrk="1" fontAlgn="auto" hangingPunct="1">
              <a:spcBef>
                <a:spcPts val="0"/>
              </a:spcBef>
              <a:spcAft>
                <a:spcPts val="0"/>
              </a:spcAft>
            </a:pPr>
            <a:fld id="{7422A9A3-8636-4A04-BD48-3153280FB086}" type="slidenum">
              <a:rPr lang="sv-SE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pPr defTabSz="514350" eaLnBrk="1" fontAlgn="auto" hangingPunct="1">
                <a:spcBef>
                  <a:spcPts val="0"/>
                </a:spcBef>
                <a:spcAft>
                  <a:spcPts val="0"/>
                </a:spcAft>
              </a:pPr>
              <a:t>13</a:t>
            </a:fld>
            <a:endParaRPr lang="sv-SE">
              <a:solidFill>
                <a:srgbClr val="000000">
                  <a:tint val="75000"/>
                </a:srgbClr>
              </a:solidFill>
              <a:latin typeface="Arial" panose="020B0604020202020204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2ADDB9C-C82A-4F65-5E10-B44FEBF6FB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514350" eaLnBrk="1" fontAlgn="auto" hangingPunct="1">
              <a:spcBef>
                <a:spcPts val="0"/>
              </a:spcBef>
              <a:spcAft>
                <a:spcPts val="0"/>
              </a:spcAft>
            </a:pPr>
            <a:endParaRPr lang="sv-SE">
              <a:solidFill>
                <a:srgbClr val="000000">
                  <a:tint val="75000"/>
                </a:srgbClr>
              </a:solidFill>
              <a:latin typeface="Arial" panose="020B0604020202020204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184D37-00AA-8BF4-FACA-18D111953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514350" eaLnBrk="1" fontAlgn="auto" hangingPunct="1">
              <a:spcBef>
                <a:spcPts val="0"/>
              </a:spcBef>
              <a:spcAft>
                <a:spcPts val="0"/>
              </a:spcAft>
            </a:pPr>
            <a:fld id="{95D3F4D8-4BE6-D743-AE27-D14757A6F270}" type="datetime1">
              <a:rPr lang="sv-SE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pPr defTabSz="514350" eaLnBrk="1" fontAlgn="auto" hangingPunct="1">
                <a:spcBef>
                  <a:spcPts val="0"/>
                </a:spcBef>
                <a:spcAft>
                  <a:spcPts val="0"/>
                </a:spcAft>
              </a:pPr>
              <a:t>2023-09-12</a:t>
            </a:fld>
            <a:endParaRPr lang="sv-SE">
              <a:solidFill>
                <a:srgbClr val="000000">
                  <a:tint val="75000"/>
                </a:srgbClr>
              </a:solidFill>
              <a:latin typeface="Arial" panose="020B0604020202020204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D623D41-3B22-861E-44B0-2E96C900B74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85967" y="1477967"/>
            <a:ext cx="5824240" cy="3540919"/>
          </a:xfrm>
        </p:spPr>
        <p:txBody>
          <a:bodyPr/>
          <a:lstStyle/>
          <a:p>
            <a:pPr marL="0" indent="0">
              <a:buNone/>
            </a:pPr>
            <a:r>
              <a:rPr lang="sv-SE" dirty="0" smtClean="0"/>
              <a:t>Arbetsordning </a:t>
            </a:r>
            <a:r>
              <a:rPr lang="sv-SE" dirty="0"/>
              <a:t>beslutas av Universitetsstyrelsen </a:t>
            </a:r>
            <a:r>
              <a:rPr lang="sv-SE" b="1" dirty="0"/>
              <a:t>den</a:t>
            </a:r>
            <a:r>
              <a:rPr lang="sv-SE" dirty="0"/>
              <a:t> </a:t>
            </a:r>
            <a:r>
              <a:rPr lang="sv-SE" b="1" dirty="0"/>
              <a:t>22 </a:t>
            </a:r>
            <a:r>
              <a:rPr lang="sv-SE" b="1" dirty="0" smtClean="0"/>
              <a:t>november</a:t>
            </a:r>
            <a:br>
              <a:rPr lang="sv-SE" b="1" dirty="0" smtClean="0"/>
            </a:br>
            <a:endParaRPr lang="sv-SE" b="1" dirty="0"/>
          </a:p>
          <a:p>
            <a:pPr marL="0" indent="0">
              <a:buNone/>
            </a:pPr>
            <a:r>
              <a:rPr lang="sv-SE" b="1" dirty="0" smtClean="0"/>
              <a:t>Skolfakultetsnämnder </a:t>
            </a:r>
            <a:r>
              <a:rPr lang="sv-SE" b="1" dirty="0" err="1" smtClean="0"/>
              <a:t>resp</a:t>
            </a:r>
            <a:r>
              <a:rPr lang="sv-SE" b="1" dirty="0" smtClean="0"/>
              <a:t> fakultetsråd </a:t>
            </a:r>
            <a:r>
              <a:rPr lang="sv-SE" b="1" dirty="0"/>
              <a:t>utses genom val </a:t>
            </a:r>
            <a:endParaRPr lang="sv-SE" b="1" dirty="0" smtClean="0"/>
          </a:p>
          <a:p>
            <a:pPr marL="0" indent="0">
              <a:buNone/>
            </a:pPr>
            <a:r>
              <a:rPr lang="sv-SE" b="1" dirty="0" smtClean="0"/>
              <a:t> …</a:t>
            </a:r>
            <a:r>
              <a:rPr lang="sv-SE" b="1" dirty="0" smtClean="0"/>
              <a:t>och </a:t>
            </a:r>
            <a:r>
              <a:rPr lang="sv-SE" b="1" dirty="0"/>
              <a:t>tillträder den 1 januari 2024</a:t>
            </a:r>
          </a:p>
          <a:p>
            <a:pPr marL="0" indent="0">
              <a:buNone/>
            </a:pPr>
            <a:endParaRPr lang="sv-SE" b="1" dirty="0"/>
          </a:p>
          <a:p>
            <a:pPr marL="0" indent="0">
              <a:buNone/>
            </a:pPr>
            <a:endParaRPr lang="sv-SE" dirty="0" smtClean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8D4218F8-107E-EEB0-273E-C47A542F7E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Beslut om denna ändring…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0634965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514350" eaLnBrk="1" fontAlgn="auto" hangingPunct="1">
              <a:spcBef>
                <a:spcPts val="0"/>
              </a:spcBef>
              <a:spcAft>
                <a:spcPts val="0"/>
              </a:spcAft>
            </a:pPr>
            <a:fld id="{7422A9A3-8636-4A04-BD48-3153280FB086}" type="slidenum">
              <a:rPr lang="sv-SE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pPr defTabSz="514350" eaLnBrk="1" fontAlgn="auto" hangingPunct="1">
                <a:spcBef>
                  <a:spcPts val="0"/>
                </a:spcBef>
                <a:spcAft>
                  <a:spcPts val="0"/>
                </a:spcAft>
              </a:pPr>
              <a:t>14</a:t>
            </a:fld>
            <a:endParaRPr lang="sv-SE">
              <a:solidFill>
                <a:srgbClr val="000000">
                  <a:tint val="75000"/>
                </a:srgbClr>
              </a:solidFill>
              <a:latin typeface="Arial" panose="020B0604020202020204"/>
            </a:endParaRPr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514350" eaLnBrk="1" fontAlgn="auto" hangingPunct="1">
              <a:spcBef>
                <a:spcPts val="0"/>
              </a:spcBef>
              <a:spcAft>
                <a:spcPts val="0"/>
              </a:spcAft>
            </a:pPr>
            <a:endParaRPr lang="sv-SE">
              <a:solidFill>
                <a:srgbClr val="000000">
                  <a:tint val="75000"/>
                </a:srgbClr>
              </a:solidFill>
              <a:latin typeface="Arial" panose="020B0604020202020204"/>
            </a:endParaRP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514350" eaLnBrk="1" fontAlgn="auto" hangingPunct="1">
              <a:spcBef>
                <a:spcPts val="0"/>
              </a:spcBef>
              <a:spcAft>
                <a:spcPts val="0"/>
              </a:spcAft>
            </a:pPr>
            <a:fld id="{95D3F4D8-4BE6-D743-AE27-D14757A6F270}" type="datetime1">
              <a:rPr lang="sv-SE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pPr defTabSz="514350" eaLnBrk="1" fontAlgn="auto" hangingPunct="1">
                <a:spcBef>
                  <a:spcPts val="0"/>
                </a:spcBef>
                <a:spcAft>
                  <a:spcPts val="0"/>
                </a:spcAft>
              </a:pPr>
              <a:t>2023-09-12</a:t>
            </a:fld>
            <a:endParaRPr lang="sv-SE">
              <a:solidFill>
                <a:srgbClr val="000000">
                  <a:tint val="75000"/>
                </a:srgbClr>
              </a:solidFill>
              <a:latin typeface="Arial" panose="020B0604020202020204"/>
            </a:endParaRPr>
          </a:p>
        </p:txBody>
      </p:sp>
      <p:sp>
        <p:nvSpPr>
          <p:cNvPr id="5" name="Platshållare för innehåll 4"/>
          <p:cNvSpPr>
            <a:spLocks noGrp="1"/>
          </p:cNvSpPr>
          <p:nvPr>
            <p:ph sz="quarter" idx="13"/>
          </p:nvPr>
        </p:nvSpPr>
        <p:spPr>
          <a:xfrm>
            <a:off x="620688" y="1538587"/>
            <a:ext cx="6052468" cy="2655689"/>
          </a:xfrm>
        </p:spPr>
        <p:txBody>
          <a:bodyPr vert="horz" lIns="0" tIns="0" rIns="0" bIns="0" rtlCol="0" anchor="t">
            <a:normAutofit/>
          </a:bodyPr>
          <a:lstStyle/>
          <a:p>
            <a:pPr marL="0" indent="0">
              <a:buNone/>
            </a:pPr>
            <a:r>
              <a:rPr lang="sv-SE" b="1" dirty="0" smtClean="0"/>
              <a:t>Skolchef</a:t>
            </a:r>
            <a:r>
              <a:rPr lang="sv-SE" dirty="0" smtClean="0"/>
              <a:t> = ordförande</a:t>
            </a:r>
            <a:br>
              <a:rPr lang="sv-SE" dirty="0" smtClean="0"/>
            </a:br>
            <a:r>
              <a:rPr lang="sv-SE" dirty="0" smtClean="0"/>
              <a:t>(</a:t>
            </a:r>
            <a:r>
              <a:rPr lang="sv-SE" dirty="0">
                <a:cs typeface="Arial"/>
              </a:rPr>
              <a:t>en ledamot tillsätts som vice </a:t>
            </a:r>
            <a:r>
              <a:rPr lang="sv-SE" dirty="0" smtClean="0">
                <a:cs typeface="Arial"/>
              </a:rPr>
              <a:t>ordförande)</a:t>
            </a:r>
            <a:br>
              <a:rPr lang="sv-SE" dirty="0" smtClean="0">
                <a:cs typeface="Arial"/>
              </a:rPr>
            </a:br>
            <a:endParaRPr lang="sv-SE" b="1" dirty="0" smtClean="0"/>
          </a:p>
          <a:p>
            <a:pPr marL="0" indent="0">
              <a:buNone/>
            </a:pPr>
            <a:r>
              <a:rPr lang="sv-SE" b="1" dirty="0" smtClean="0"/>
              <a:t>6 lärarledamöter</a:t>
            </a:r>
            <a:r>
              <a:rPr lang="sv-SE" dirty="0" smtClean="0"/>
              <a:t/>
            </a:r>
            <a:br>
              <a:rPr lang="sv-SE" dirty="0" smtClean="0"/>
            </a:br>
            <a:r>
              <a:rPr lang="sv-SE" dirty="0" smtClean="0"/>
              <a:t>(ti</a:t>
            </a:r>
            <a:r>
              <a:rPr lang="sv-SE" dirty="0" smtClean="0">
                <a:cs typeface="Arial"/>
              </a:rPr>
              <a:t>llsvidareanställda professor</a:t>
            </a:r>
            <a:r>
              <a:rPr lang="sv-SE" dirty="0">
                <a:cs typeface="Arial"/>
              </a:rPr>
              <a:t>, lektor, </a:t>
            </a:r>
            <a:r>
              <a:rPr lang="sv-SE" dirty="0" smtClean="0">
                <a:cs typeface="Arial"/>
              </a:rPr>
              <a:t>adjunkt, </a:t>
            </a:r>
            <a:r>
              <a:rPr lang="sv-SE" dirty="0">
                <a:cs typeface="Arial"/>
              </a:rPr>
              <a:t>biträdande lektor </a:t>
            </a:r>
            <a:r>
              <a:rPr lang="sv-SE" dirty="0" smtClean="0">
                <a:cs typeface="Arial"/>
              </a:rPr>
              <a:t>eller </a:t>
            </a:r>
            <a:r>
              <a:rPr lang="sv-SE" dirty="0">
                <a:cs typeface="Arial"/>
              </a:rPr>
              <a:t>forskare på minst 50</a:t>
            </a:r>
            <a:r>
              <a:rPr lang="sv-SE" dirty="0" smtClean="0">
                <a:cs typeface="Arial"/>
              </a:rPr>
              <a:t>%)</a:t>
            </a:r>
            <a:br>
              <a:rPr lang="sv-SE" dirty="0" smtClean="0">
                <a:cs typeface="Arial"/>
              </a:rPr>
            </a:br>
            <a:endParaRPr lang="sv-SE" dirty="0" smtClean="0"/>
          </a:p>
          <a:p>
            <a:pPr marL="0" indent="0">
              <a:buNone/>
            </a:pPr>
            <a:r>
              <a:rPr lang="sv-SE" b="1" dirty="0" smtClean="0"/>
              <a:t>2 studentledamöter</a:t>
            </a:r>
            <a:r>
              <a:rPr lang="sv-SE" dirty="0" smtClean="0"/>
              <a:t/>
            </a:r>
            <a:br>
              <a:rPr lang="sv-SE" dirty="0" smtClean="0"/>
            </a:br>
            <a:r>
              <a:rPr lang="sv-SE" dirty="0" smtClean="0"/>
              <a:t>(</a:t>
            </a:r>
            <a:r>
              <a:rPr lang="sv-SE" dirty="0">
                <a:cs typeface="Arial"/>
              </a:rPr>
              <a:t>tillsätts av </a:t>
            </a:r>
            <a:r>
              <a:rPr lang="sv-SE" dirty="0" smtClean="0">
                <a:cs typeface="Arial"/>
              </a:rPr>
              <a:t>THS)</a:t>
            </a:r>
            <a:br>
              <a:rPr lang="sv-SE" dirty="0" smtClean="0">
                <a:cs typeface="Arial"/>
              </a:rPr>
            </a:br>
            <a:endParaRPr lang="sv-SE" dirty="0" smtClean="0">
              <a:cs typeface="Arial"/>
            </a:endParaRPr>
          </a:p>
          <a:p>
            <a:pPr marL="0" indent="0">
              <a:buNone/>
            </a:pPr>
            <a:r>
              <a:rPr lang="sv-SE" b="1" dirty="0" smtClean="0"/>
              <a:t>2 </a:t>
            </a:r>
            <a:r>
              <a:rPr lang="sv-SE" b="1" dirty="0"/>
              <a:t>externa </a:t>
            </a:r>
            <a:r>
              <a:rPr lang="sv-SE" b="1" dirty="0" smtClean="0"/>
              <a:t>ledamöter </a:t>
            </a:r>
            <a:br>
              <a:rPr lang="sv-SE" b="1" dirty="0" smtClean="0"/>
            </a:br>
            <a:r>
              <a:rPr lang="sv-SE" dirty="0" smtClean="0"/>
              <a:t>(</a:t>
            </a:r>
            <a:r>
              <a:rPr lang="sv-SE" dirty="0" smtClean="0">
                <a:cs typeface="Arial"/>
              </a:rPr>
              <a:t>huvudsaklig </a:t>
            </a:r>
            <a:r>
              <a:rPr lang="sv-SE" dirty="0">
                <a:cs typeface="Arial"/>
              </a:rPr>
              <a:t>verksamhet utanför KTH på minst 50 </a:t>
            </a:r>
            <a:r>
              <a:rPr lang="sv-SE" dirty="0" smtClean="0">
                <a:cs typeface="Arial"/>
              </a:rPr>
              <a:t>%)</a:t>
            </a:r>
            <a:endParaRPr lang="sv-SE" dirty="0"/>
          </a:p>
        </p:txBody>
      </p:sp>
      <p:sp>
        <p:nvSpPr>
          <p:cNvPr id="6" name="Rubrik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Skolfakultetsnämndernas </a:t>
            </a:r>
            <a:r>
              <a:rPr lang="sv-SE" dirty="0"/>
              <a:t>sammansättning och </a:t>
            </a:r>
            <a:r>
              <a:rPr lang="sv-SE" dirty="0" smtClean="0"/>
              <a:t>tillsättning – förslag!!</a:t>
            </a:r>
            <a:endParaRPr lang="sv-SE" dirty="0"/>
          </a:p>
        </p:txBody>
      </p:sp>
      <p:sp>
        <p:nvSpPr>
          <p:cNvPr id="7" name="TextBox 6"/>
          <p:cNvSpPr txBox="1"/>
          <p:nvPr/>
        </p:nvSpPr>
        <p:spPr>
          <a:xfrm>
            <a:off x="1808018" y="1946563"/>
            <a:ext cx="2431948" cy="307777"/>
          </a:xfrm>
          <a:prstGeom prst="rect">
            <a:avLst/>
          </a:prstGeom>
          <a:solidFill>
            <a:srgbClr val="FFFF00"/>
          </a:solidFill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sv-SE" sz="2000" dirty="0" smtClean="0"/>
              <a:t>…tillsätts genom VAL</a:t>
            </a:r>
            <a:endParaRPr lang="sv-SE" sz="2000" dirty="0"/>
          </a:p>
        </p:txBody>
      </p:sp>
    </p:spTree>
    <p:extLst>
      <p:ext uri="{BB962C8B-B14F-4D97-AF65-F5344CB8AC3E}">
        <p14:creationId xmlns:p14="http://schemas.microsoft.com/office/powerpoint/2010/main" val="41213799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527FB4B-7893-4946-9C41-FB1EB79145A0}" type="slidenum">
              <a:rPr kumimoji="0" lang="sv-S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sv-SE" sz="8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8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A612C29-4FF1-4A4F-A907-03CBB0EDED27}" type="datetime1">
              <a:rPr kumimoji="0" lang="sv-S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3-09-12</a:t>
            </a:fld>
            <a:endParaRPr kumimoji="0" lang="sv-SE" sz="8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1174749" y="1085055"/>
            <a:ext cx="5434850" cy="3556075"/>
          </a:xfrm>
        </p:spPr>
        <p:txBody>
          <a:bodyPr/>
          <a:lstStyle/>
          <a:p>
            <a:pPr marL="0" indent="0">
              <a:buNone/>
            </a:pPr>
            <a:r>
              <a:rPr lang="sv-SE" b="1" dirty="0"/>
              <a:t>2023</a:t>
            </a:r>
            <a:endParaRPr lang="sv-SE" dirty="0"/>
          </a:p>
          <a:p>
            <a:pPr marL="0" indent="0">
              <a:buNone/>
            </a:pPr>
            <a:r>
              <a:rPr lang="sv-SE" sz="1000" dirty="0"/>
              <a:t>12 sep 	</a:t>
            </a:r>
            <a:r>
              <a:rPr lang="sv-SE" sz="1000" dirty="0" smtClean="0"/>
              <a:t>Rektor </a:t>
            </a:r>
            <a:r>
              <a:rPr lang="sv-SE" sz="1000" dirty="0"/>
              <a:t>beslutar om riktlinjer för valen </a:t>
            </a:r>
          </a:p>
          <a:p>
            <a:pPr marL="0" indent="0">
              <a:buNone/>
            </a:pPr>
            <a:r>
              <a:rPr lang="sv-SE" sz="1000" b="1" dirty="0"/>
              <a:t>14 sep	Information om valet läggs upp på webben. </a:t>
            </a:r>
            <a:endParaRPr lang="sv-SE" sz="1000" b="1" dirty="0" smtClean="0"/>
          </a:p>
          <a:p>
            <a:pPr marL="0" indent="0">
              <a:buNone/>
            </a:pPr>
            <a:r>
              <a:rPr lang="sv-SE" sz="1000" dirty="0" smtClean="0"/>
              <a:t>14/9 – 8/10	Nomineringsperiod</a:t>
            </a:r>
          </a:p>
          <a:p>
            <a:pPr marL="0" indent="0">
              <a:buNone/>
            </a:pPr>
            <a:r>
              <a:rPr lang="sv-SE" sz="1000" b="1" dirty="0" smtClean="0"/>
              <a:t>9 </a:t>
            </a:r>
            <a:r>
              <a:rPr lang="sv-SE" sz="1000" b="1" dirty="0"/>
              <a:t>okt-10 nov	</a:t>
            </a:r>
            <a:r>
              <a:rPr lang="sv-SE" sz="1000" dirty="0"/>
              <a:t>Valberedningen (på </a:t>
            </a:r>
            <a:r>
              <a:rPr lang="sv-SE" sz="1000" dirty="0" err="1" smtClean="0"/>
              <a:t>resp</a:t>
            </a:r>
            <a:r>
              <a:rPr lang="sv-SE" sz="1000" dirty="0" smtClean="0"/>
              <a:t> </a:t>
            </a:r>
            <a:r>
              <a:rPr lang="sv-SE" sz="1000" dirty="0"/>
              <a:t>skola och fakultetsrådet) arbetar med intervjuer </a:t>
            </a:r>
            <a:r>
              <a:rPr lang="sv-SE" sz="1000" dirty="0" smtClean="0"/>
              <a:t>och</a:t>
            </a:r>
            <a:br>
              <a:rPr lang="sv-SE" sz="1000" dirty="0" smtClean="0"/>
            </a:br>
            <a:r>
              <a:rPr lang="sv-SE" sz="1000" dirty="0" smtClean="0"/>
              <a:t> 	beslutar </a:t>
            </a:r>
            <a:r>
              <a:rPr lang="sv-SE" sz="1000" dirty="0"/>
              <a:t>om kandidater.</a:t>
            </a:r>
          </a:p>
          <a:p>
            <a:pPr marL="0" indent="0">
              <a:buNone/>
            </a:pPr>
            <a:r>
              <a:rPr lang="sv-SE" sz="1000" dirty="0" smtClean="0"/>
              <a:t>31 </a:t>
            </a:r>
            <a:r>
              <a:rPr lang="sv-SE" sz="1000" dirty="0"/>
              <a:t>okt	</a:t>
            </a:r>
            <a:r>
              <a:rPr lang="sv-SE" sz="1000" dirty="0" smtClean="0"/>
              <a:t>Rektor </a:t>
            </a:r>
            <a:r>
              <a:rPr lang="sv-SE" sz="1000" dirty="0"/>
              <a:t>beslutar om röstlängd</a:t>
            </a:r>
            <a:r>
              <a:rPr lang="sv-SE" sz="1000" dirty="0" smtClean="0"/>
              <a:t>.</a:t>
            </a:r>
          </a:p>
          <a:p>
            <a:pPr marL="0" indent="0">
              <a:buNone/>
            </a:pPr>
            <a:r>
              <a:rPr lang="sv-SE" sz="1000" b="1" dirty="0"/>
              <a:t>27 nov	Valberedningens namnförslag och övriga </a:t>
            </a:r>
            <a:r>
              <a:rPr lang="sv-SE" sz="1000" b="1" dirty="0" smtClean="0"/>
              <a:t>kandiderar </a:t>
            </a:r>
            <a:r>
              <a:rPr lang="sv-SE" sz="1000" b="1" dirty="0"/>
              <a:t>skickas ut till de</a:t>
            </a:r>
            <a:br>
              <a:rPr lang="sv-SE" sz="1000" b="1" dirty="0"/>
            </a:br>
            <a:r>
              <a:rPr lang="sv-SE" sz="1000" b="1" dirty="0"/>
              <a:t> 	röstberättigade </a:t>
            </a:r>
            <a:r>
              <a:rPr lang="sv-SE" sz="1000" b="1" dirty="0" smtClean="0"/>
              <a:t>och </a:t>
            </a:r>
            <a:r>
              <a:rPr lang="sv-SE" sz="1000" b="1" dirty="0"/>
              <a:t>läggs upp på internwebben. </a:t>
            </a:r>
            <a:endParaRPr lang="sv-SE" sz="1000" dirty="0"/>
          </a:p>
          <a:p>
            <a:pPr marL="0" indent="0">
              <a:buNone/>
            </a:pPr>
            <a:r>
              <a:rPr lang="sv-SE" sz="1000" dirty="0"/>
              <a:t>27 nov -1 dec	Hearing med samtliga nominerade kandidater</a:t>
            </a:r>
            <a:r>
              <a:rPr lang="sv-SE" sz="1000" dirty="0" smtClean="0"/>
              <a:t>???</a:t>
            </a:r>
            <a:r>
              <a:rPr lang="sv-SE" sz="1000" dirty="0"/>
              <a:t>	</a:t>
            </a:r>
          </a:p>
          <a:p>
            <a:pPr marL="0" indent="0">
              <a:buNone/>
            </a:pPr>
            <a:r>
              <a:rPr lang="sv-SE" sz="1000" b="1" dirty="0"/>
              <a:t>4-10 dec	Röstningsperiod för elektronisk röstning (1 vecka).</a:t>
            </a:r>
            <a:endParaRPr lang="sv-SE" sz="1000" dirty="0"/>
          </a:p>
          <a:p>
            <a:pPr marL="0" indent="0">
              <a:buNone/>
            </a:pPr>
            <a:r>
              <a:rPr lang="sv-SE" sz="1000" dirty="0"/>
              <a:t>11 dec	Rösträkning. Rösträkningen redogörs i ett protokoll</a:t>
            </a:r>
          </a:p>
          <a:p>
            <a:pPr marL="0" indent="0">
              <a:buNone/>
            </a:pPr>
            <a:r>
              <a:rPr lang="sv-SE" sz="1000" dirty="0" smtClean="0"/>
              <a:t>12 </a:t>
            </a:r>
            <a:r>
              <a:rPr lang="sv-SE" sz="1000" dirty="0"/>
              <a:t>dec	Skolchef </a:t>
            </a:r>
            <a:r>
              <a:rPr lang="sv-SE" sz="1000" dirty="0" err="1"/>
              <a:t>resp</a:t>
            </a:r>
            <a:r>
              <a:rPr lang="sv-SE" sz="1000" dirty="0"/>
              <a:t> rektor (</a:t>
            </a:r>
            <a:r>
              <a:rPr lang="sv-SE" sz="1000" dirty="0" smtClean="0"/>
              <a:t>Skolfakultetsnämnd/fakultetsrådet</a:t>
            </a:r>
            <a:r>
              <a:rPr lang="sv-SE" sz="1000" dirty="0"/>
              <a:t>) beslutar om att </a:t>
            </a:r>
            <a:br>
              <a:rPr lang="sv-SE" sz="1000" dirty="0"/>
            </a:br>
            <a:r>
              <a:rPr lang="sv-SE" sz="1000" dirty="0"/>
              <a:t> 	fastställa valresultat. </a:t>
            </a:r>
          </a:p>
          <a:p>
            <a:pPr marL="0" indent="0">
              <a:buNone/>
            </a:pPr>
            <a:r>
              <a:rPr lang="sv-SE" sz="1000" dirty="0"/>
              <a:t>13 dec 	Valresultatet anslås på KTH:s intranät i 3 veckor</a:t>
            </a:r>
          </a:p>
          <a:p>
            <a:pPr marL="0" indent="0">
              <a:buNone/>
            </a:pPr>
            <a:r>
              <a:rPr lang="sv-SE" sz="1000" b="1" dirty="0"/>
              <a:t>1 jan 2024	Skolnämnder och fakultetsråd tillträder</a:t>
            </a:r>
            <a:endParaRPr lang="sv-SE" sz="1000" dirty="0"/>
          </a:p>
          <a:p>
            <a:pPr marL="0" indent="0">
              <a:buNone/>
            </a:pPr>
            <a:endParaRPr lang="sv-SE" sz="1000" dirty="0"/>
          </a:p>
          <a:p>
            <a:pPr marL="0" indent="0">
              <a:buNone/>
            </a:pPr>
            <a:endParaRPr lang="sv-SE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Tidplan för val av ledamöter </a:t>
            </a:r>
            <a:r>
              <a:rPr lang="sv-SE" dirty="0" smtClean="0"/>
              <a:t>till </a:t>
            </a:r>
            <a:br>
              <a:rPr lang="sv-SE" dirty="0" smtClean="0"/>
            </a:br>
            <a:r>
              <a:rPr lang="sv-SE" sz="1400" dirty="0" smtClean="0"/>
              <a:t> Skolans </a:t>
            </a:r>
            <a:r>
              <a:rPr lang="sv-SE" sz="1400" dirty="0"/>
              <a:t>fakultetsnämnd </a:t>
            </a:r>
            <a:r>
              <a:rPr lang="sv-SE" sz="1400" dirty="0" err="1" smtClean="0"/>
              <a:t>resp</a:t>
            </a:r>
            <a:r>
              <a:rPr lang="sv-SE" sz="1400" dirty="0" smtClean="0"/>
              <a:t>  Fakultetsråde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6269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840059" y="1439276"/>
            <a:ext cx="5843239" cy="102730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400" dirty="0"/>
          </a:p>
        </p:txBody>
      </p:sp>
      <p:sp>
        <p:nvSpPr>
          <p:cNvPr id="8" name="Rectangle 7"/>
          <p:cNvSpPr/>
          <p:nvPr/>
        </p:nvSpPr>
        <p:spPr>
          <a:xfrm>
            <a:off x="840059" y="2466585"/>
            <a:ext cx="5843237" cy="110180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400" dirty="0"/>
          </a:p>
        </p:txBody>
      </p:sp>
      <p:sp>
        <p:nvSpPr>
          <p:cNvPr id="9" name="Rectangle 8"/>
          <p:cNvSpPr/>
          <p:nvPr/>
        </p:nvSpPr>
        <p:spPr>
          <a:xfrm>
            <a:off x="840060" y="3568390"/>
            <a:ext cx="5843238" cy="10700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4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527FB4B-7893-4946-9C41-FB1EB79145A0}" type="slidenum">
              <a:rPr lang="sv-SE" smtClean="0"/>
              <a:t>16</a:t>
            </a:fld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A612C29-4FF1-4A4F-A907-03CBB0EDED27}" type="datetime1">
              <a:rPr lang="sv-SE" smtClean="0"/>
              <a:t>2023-09-12</a:t>
            </a:fld>
            <a:endParaRPr lang="sv-SE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1025912" y="1029241"/>
            <a:ext cx="5578088" cy="3556075"/>
          </a:xfrm>
        </p:spPr>
        <p:txBody>
          <a:bodyPr/>
          <a:lstStyle/>
          <a:p>
            <a:pPr marL="0" indent="0">
              <a:buNone/>
            </a:pPr>
            <a:r>
              <a:rPr lang="sv-SE" b="1" dirty="0"/>
              <a:t>Beslut om ny ledning vid SCI-skolans </a:t>
            </a:r>
            <a:r>
              <a:rPr lang="sv-SE" b="1" dirty="0" smtClean="0"/>
              <a:t>institutioner </a:t>
            </a:r>
            <a:br>
              <a:rPr lang="sv-SE" b="1" dirty="0" smtClean="0"/>
            </a:br>
            <a:r>
              <a:rPr lang="sv-SE" sz="1200" dirty="0" smtClean="0"/>
              <a:t>fattades av skolchefen 2023-06-22</a:t>
            </a:r>
          </a:p>
          <a:p>
            <a:pPr marL="0" indent="0">
              <a:buNone/>
            </a:pPr>
            <a:r>
              <a:rPr lang="sv-SE" b="1" dirty="0" smtClean="0"/>
              <a:t>Fysik </a:t>
            </a:r>
            <a:br>
              <a:rPr lang="sv-SE" b="1" dirty="0" smtClean="0"/>
            </a:br>
            <a:r>
              <a:rPr lang="sv-SE" sz="1100" b="1" dirty="0" smtClean="0"/>
              <a:t>Edwin </a:t>
            </a:r>
            <a:r>
              <a:rPr lang="sv-SE" sz="1100" b="1" dirty="0" err="1"/>
              <a:t>Langman</a:t>
            </a:r>
            <a:r>
              <a:rPr lang="sv-SE" sz="1100" b="1" dirty="0"/>
              <a:t> </a:t>
            </a:r>
            <a:r>
              <a:rPr lang="sv-SE" sz="1200" b="1" dirty="0" smtClean="0"/>
              <a:t>- </a:t>
            </a:r>
            <a:r>
              <a:rPr lang="sv-SE" sz="1000" dirty="0" smtClean="0"/>
              <a:t>viceprefekt med särskilt ansvar för fakultetsförnyelse</a:t>
            </a:r>
            <a:br>
              <a:rPr lang="sv-SE" sz="1000" dirty="0" smtClean="0"/>
            </a:br>
            <a:r>
              <a:rPr lang="sv-SE" sz="1100" b="1" dirty="0" smtClean="0"/>
              <a:t>Josefin </a:t>
            </a:r>
            <a:r>
              <a:rPr lang="sv-SE" sz="1100" b="1" dirty="0"/>
              <a:t>Larsson </a:t>
            </a:r>
            <a:r>
              <a:rPr lang="sv-SE" sz="1200" b="1" dirty="0" smtClean="0"/>
              <a:t>- </a:t>
            </a:r>
            <a:r>
              <a:rPr lang="sv-SE" sz="1000" dirty="0" smtClean="0"/>
              <a:t>proprefekt </a:t>
            </a:r>
            <a:r>
              <a:rPr lang="sv-SE" sz="1000" dirty="0"/>
              <a:t>och viceprefekt med särskilt ansvar för forskning, infrastruktur </a:t>
            </a:r>
            <a:r>
              <a:rPr lang="sv-SE" sz="1000" dirty="0" smtClean="0"/>
              <a:t>och forskarutbildningskurser</a:t>
            </a:r>
            <a:br>
              <a:rPr lang="sv-SE" sz="1000" dirty="0" smtClean="0"/>
            </a:br>
            <a:r>
              <a:rPr lang="sv-SE" sz="1100" b="1" dirty="0" smtClean="0"/>
              <a:t>Tommy Ohlsson </a:t>
            </a:r>
            <a:r>
              <a:rPr lang="sv-SE" sz="1200" b="1" dirty="0" smtClean="0"/>
              <a:t>- </a:t>
            </a:r>
            <a:r>
              <a:rPr lang="sv-SE" sz="1000" dirty="0" smtClean="0"/>
              <a:t>viceprefekt med särskilt ansvar för grundutbildning</a:t>
            </a:r>
            <a:br>
              <a:rPr lang="sv-SE" sz="1000" dirty="0" smtClean="0"/>
            </a:br>
            <a:endParaRPr lang="sv-SE" sz="1000" dirty="0" smtClean="0"/>
          </a:p>
          <a:p>
            <a:pPr marL="0" indent="0">
              <a:buNone/>
            </a:pPr>
            <a:r>
              <a:rPr lang="sv-SE" b="1" dirty="0" smtClean="0"/>
              <a:t>Tillämpad fysik</a:t>
            </a:r>
            <a:r>
              <a:rPr lang="sv-SE" dirty="0"/>
              <a:t/>
            </a:r>
            <a:br>
              <a:rPr lang="sv-SE" dirty="0"/>
            </a:br>
            <a:r>
              <a:rPr lang="sv-SE" sz="1100" b="1" dirty="0" smtClean="0"/>
              <a:t>Lucie Delemotte </a:t>
            </a:r>
            <a:r>
              <a:rPr lang="sv-SE" sz="1200" b="1" dirty="0" smtClean="0"/>
              <a:t>- </a:t>
            </a:r>
            <a:r>
              <a:rPr lang="sv-SE" sz="1000" dirty="0" smtClean="0"/>
              <a:t>viceprefekt </a:t>
            </a:r>
            <a:r>
              <a:rPr lang="sv-SE" sz="1000" dirty="0"/>
              <a:t>med särskilt ansvar för </a:t>
            </a:r>
            <a:r>
              <a:rPr lang="sv-SE" sz="1000" dirty="0" smtClean="0"/>
              <a:t>fakultetsförnyelse</a:t>
            </a:r>
            <a:br>
              <a:rPr lang="sv-SE" sz="1000" dirty="0" smtClean="0"/>
            </a:br>
            <a:r>
              <a:rPr lang="sv-SE" sz="1100" b="1" dirty="0" smtClean="0"/>
              <a:t>Jonas Weissenrieder </a:t>
            </a:r>
            <a:r>
              <a:rPr lang="sv-SE" sz="1200" b="1" dirty="0" smtClean="0"/>
              <a:t>- </a:t>
            </a:r>
            <a:r>
              <a:rPr lang="sv-SE" sz="1000" dirty="0" smtClean="0"/>
              <a:t>proprefekt </a:t>
            </a:r>
            <a:r>
              <a:rPr lang="sv-SE" sz="1000" dirty="0"/>
              <a:t>och viceprefekt med särskilt ansvar för forskning, </a:t>
            </a:r>
            <a:r>
              <a:rPr lang="sv-SE" sz="1000" dirty="0" smtClean="0"/>
              <a:t>infrastruktur och forskarutbildningskurser</a:t>
            </a:r>
            <a:br>
              <a:rPr lang="sv-SE" sz="1000" dirty="0" smtClean="0"/>
            </a:br>
            <a:r>
              <a:rPr lang="sv-SE" sz="1100" b="1" dirty="0" smtClean="0"/>
              <a:t>Ulrich Vogt </a:t>
            </a:r>
            <a:r>
              <a:rPr lang="sv-SE" sz="1200" b="1" dirty="0" smtClean="0"/>
              <a:t>- </a:t>
            </a:r>
            <a:r>
              <a:rPr lang="sv-SE" sz="1000" dirty="0" smtClean="0"/>
              <a:t>viceprefekt </a:t>
            </a:r>
            <a:r>
              <a:rPr lang="sv-SE" sz="1000" dirty="0"/>
              <a:t>med särskilt ansvar för </a:t>
            </a:r>
            <a:r>
              <a:rPr lang="sv-SE" sz="1000" dirty="0" smtClean="0"/>
              <a:t>grundutbildning</a:t>
            </a:r>
            <a:br>
              <a:rPr lang="sv-SE" sz="1000" dirty="0" smtClean="0"/>
            </a:br>
            <a:endParaRPr lang="sv-SE" sz="1000" dirty="0" smtClean="0"/>
          </a:p>
          <a:p>
            <a:pPr marL="0" indent="0">
              <a:buNone/>
            </a:pPr>
            <a:r>
              <a:rPr lang="sv-SE" b="1" dirty="0"/>
              <a:t>Matematik </a:t>
            </a:r>
            <a:r>
              <a:rPr lang="sv-SE" b="1" dirty="0" smtClean="0"/>
              <a:t/>
            </a:r>
            <a:br>
              <a:rPr lang="sv-SE" b="1" dirty="0" smtClean="0"/>
            </a:br>
            <a:r>
              <a:rPr lang="sv-SE" sz="1100" b="1" dirty="0" smtClean="0"/>
              <a:t>Anna-Karin Tornberg </a:t>
            </a:r>
            <a:r>
              <a:rPr lang="sv-SE" sz="1200" b="1" dirty="0" smtClean="0"/>
              <a:t>- </a:t>
            </a:r>
            <a:r>
              <a:rPr lang="sv-SE" sz="1000" dirty="0" smtClean="0"/>
              <a:t>proprefekt </a:t>
            </a:r>
            <a:r>
              <a:rPr lang="sv-SE" sz="1000" dirty="0"/>
              <a:t>och viceprefekt med särskilt ansvar för </a:t>
            </a:r>
            <a:r>
              <a:rPr lang="sv-SE" sz="1000" dirty="0" smtClean="0"/>
              <a:t>fakultetsförnyelse</a:t>
            </a:r>
            <a:r>
              <a:rPr lang="sv-SE" sz="1200" dirty="0" smtClean="0"/>
              <a:t/>
            </a:r>
            <a:br>
              <a:rPr lang="sv-SE" sz="1200" dirty="0" smtClean="0"/>
            </a:br>
            <a:r>
              <a:rPr lang="sv-SE" sz="1100" b="1" dirty="0" smtClean="0"/>
              <a:t>Maurice Duits </a:t>
            </a:r>
            <a:r>
              <a:rPr lang="sv-SE" sz="1200" b="1" dirty="0" smtClean="0"/>
              <a:t>- </a:t>
            </a:r>
            <a:r>
              <a:rPr lang="sv-SE" sz="1000" dirty="0" smtClean="0"/>
              <a:t>viceprefekt </a:t>
            </a:r>
            <a:r>
              <a:rPr lang="sv-SE" sz="1000" dirty="0"/>
              <a:t>med särskilt ansvar för forskning, infrastruktur </a:t>
            </a:r>
            <a:r>
              <a:rPr lang="sv-SE" sz="1000" dirty="0" smtClean="0"/>
              <a:t>och forskarutbildningskurser</a:t>
            </a:r>
            <a:r>
              <a:rPr lang="sv-SE" sz="1200" dirty="0"/>
              <a:t/>
            </a:r>
            <a:br>
              <a:rPr lang="sv-SE" sz="1200" dirty="0"/>
            </a:br>
            <a:r>
              <a:rPr lang="sv-SE" sz="1100" b="1" dirty="0" smtClean="0"/>
              <a:t>Katarina Gustavsson </a:t>
            </a:r>
            <a:r>
              <a:rPr lang="sv-SE" sz="1200" b="1" dirty="0" smtClean="0"/>
              <a:t>- </a:t>
            </a:r>
            <a:r>
              <a:rPr lang="sv-SE" sz="1000" dirty="0" smtClean="0"/>
              <a:t>viceprefekt </a:t>
            </a:r>
            <a:r>
              <a:rPr lang="sv-SE" sz="1000" dirty="0"/>
              <a:t>med särskilt ansvar för grundutbildning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solidFill>
                  <a:srgbClr val="5E87C0"/>
                </a:solidFill>
              </a:rPr>
              <a:t>Nyheter på SCI/KTH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26530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527FB4B-7893-4946-9C41-FB1EB79145A0}" type="slidenum">
              <a:rPr lang="sv-SE" smtClean="0"/>
              <a:t>17</a:t>
            </a:fld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A612C29-4FF1-4A4F-A907-03CBB0EDED27}" type="datetime1">
              <a:rPr lang="sv-SE" smtClean="0"/>
              <a:t>2023-09-12</a:t>
            </a:fld>
            <a:endParaRPr lang="sv-SE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778669" y="1177924"/>
            <a:ext cx="5830931" cy="3556075"/>
          </a:xfrm>
        </p:spPr>
        <p:txBody>
          <a:bodyPr/>
          <a:lstStyle/>
          <a:p>
            <a:pPr marL="0" indent="0">
              <a:buNone/>
            </a:pPr>
            <a:r>
              <a:rPr lang="sv-SE" dirty="0" smtClean="0"/>
              <a:t>Omorganisation av skolans alla institutioner pågår</a:t>
            </a:r>
            <a:r>
              <a:rPr lang="sv-SE" dirty="0" smtClean="0"/>
              <a:t>.</a:t>
            </a:r>
          </a:p>
          <a:p>
            <a:pPr marL="0" indent="0">
              <a:buNone/>
            </a:pPr>
            <a:r>
              <a:rPr lang="sv-SE" dirty="0"/>
              <a:t>Samtliga prefekter har sedan årsskiftet haft i uppdrag att initiera och leda en diskussion inom sin institution med målsättningen att </a:t>
            </a:r>
            <a:br>
              <a:rPr lang="sv-SE" dirty="0"/>
            </a:br>
            <a:r>
              <a:rPr lang="sv-SE" dirty="0"/>
              <a:t>- omstrukturera institutionernas avdelningar </a:t>
            </a:r>
            <a:br>
              <a:rPr lang="sv-SE" dirty="0"/>
            </a:br>
            <a:r>
              <a:rPr lang="sv-SE" dirty="0"/>
              <a:t>- dimensionera mer ändamålsenligt.</a:t>
            </a:r>
            <a:r>
              <a:rPr lang="sv-SE" dirty="0" smtClean="0"/>
              <a:t/>
            </a:r>
            <a:br>
              <a:rPr lang="sv-SE" dirty="0" smtClean="0"/>
            </a:br>
            <a:endParaRPr lang="sv-SE" dirty="0"/>
          </a:p>
          <a:p>
            <a:pPr marL="0" indent="0">
              <a:buNone/>
            </a:pPr>
            <a:r>
              <a:rPr lang="sv-SE" b="1" dirty="0" smtClean="0"/>
              <a:t>Nya avdelningsstrukturer skall implementeras fullt ut från </a:t>
            </a:r>
            <a:r>
              <a:rPr lang="sv-SE" b="1" dirty="0" smtClean="0"/>
              <a:t>2024-01-01</a:t>
            </a:r>
            <a:endParaRPr lang="sv-SE" b="1" dirty="0" smtClean="0"/>
          </a:p>
          <a:p>
            <a:pPr marL="0" indent="0">
              <a:buNone/>
            </a:pPr>
            <a:r>
              <a:rPr lang="sv-SE" dirty="0" smtClean="0"/>
              <a:t>Målsättning </a:t>
            </a:r>
            <a:r>
              <a:rPr lang="sv-SE" dirty="0" smtClean="0"/>
              <a:t>att skapa </a:t>
            </a:r>
            <a:r>
              <a:rPr lang="sv-SE" dirty="0" smtClean="0"/>
              <a:t>jämnstora </a:t>
            </a:r>
            <a:r>
              <a:rPr lang="sv-SE" dirty="0" smtClean="0"/>
              <a:t>avdelningar inom </a:t>
            </a:r>
            <a:r>
              <a:rPr lang="sv-SE" dirty="0" err="1" smtClean="0"/>
              <a:t>resp</a:t>
            </a:r>
            <a:r>
              <a:rPr lang="sv-SE" dirty="0" smtClean="0"/>
              <a:t> institution.</a:t>
            </a:r>
            <a:endParaRPr lang="sv-SE" dirty="0"/>
          </a:p>
          <a:p>
            <a:pPr marL="0" indent="0">
              <a:buNone/>
            </a:pPr>
            <a:r>
              <a:rPr lang="sv-SE" dirty="0" smtClean="0"/>
              <a:t/>
            </a:r>
            <a:br>
              <a:rPr lang="sv-SE" dirty="0" smtClean="0"/>
            </a:br>
            <a:r>
              <a:rPr lang="sv-SE" i="1" dirty="0" smtClean="0"/>
              <a:t>Den </a:t>
            </a:r>
            <a:r>
              <a:rPr lang="sv-SE" i="1" dirty="0"/>
              <a:t>nya strukturen </a:t>
            </a:r>
            <a:r>
              <a:rPr lang="sv-SE" i="1" dirty="0" smtClean="0"/>
              <a:t>ska </a:t>
            </a:r>
            <a:r>
              <a:rPr lang="sv-SE" i="1" dirty="0"/>
              <a:t>ge goda och </a:t>
            </a:r>
            <a:r>
              <a:rPr lang="sv-SE" i="1" dirty="0" smtClean="0"/>
              <a:t>jämlika förutsättningar </a:t>
            </a:r>
            <a:r>
              <a:rPr lang="sv-SE" i="1" dirty="0"/>
              <a:t>för forskning och </a:t>
            </a:r>
            <a:r>
              <a:rPr lang="sv-SE" i="1" dirty="0" smtClean="0"/>
              <a:t>utbildning, säkerställa en god </a:t>
            </a:r>
            <a:r>
              <a:rPr lang="sv-SE" i="1" dirty="0"/>
              <a:t>arbetsmiljö, jämförbara arbetsvillkor </a:t>
            </a:r>
            <a:r>
              <a:rPr lang="sv-SE" i="1" dirty="0" smtClean="0"/>
              <a:t/>
            </a:r>
            <a:br>
              <a:rPr lang="sv-SE" i="1" dirty="0" smtClean="0"/>
            </a:br>
            <a:r>
              <a:rPr lang="sv-SE" i="1" dirty="0" smtClean="0"/>
              <a:t>och </a:t>
            </a:r>
            <a:r>
              <a:rPr lang="sv-SE" i="1" dirty="0"/>
              <a:t>lika representation i </a:t>
            </a:r>
            <a:r>
              <a:rPr lang="sv-SE" i="1" dirty="0" smtClean="0"/>
              <a:t>institutionens ledningsgrupp.</a:t>
            </a:r>
            <a:endParaRPr lang="sv-SE" i="1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solidFill>
                  <a:srgbClr val="5E87C0"/>
                </a:solidFill>
              </a:rPr>
              <a:t>Nyheter på SCI/KTH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728946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527FB4B-7893-4946-9C41-FB1EB79145A0}" type="slidenum">
              <a:rPr lang="sv-SE" smtClean="0"/>
              <a:t>18</a:t>
            </a:fld>
            <a:endParaRPr lang="sv-S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A612C29-4FF1-4A4F-A907-03CBB0EDED27}" type="datetime1">
              <a:rPr lang="sv-SE" smtClean="0"/>
              <a:t>2023-09-12</a:t>
            </a:fld>
            <a:endParaRPr lang="sv-SE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sv-SE" b="1" dirty="0" smtClean="0"/>
              <a:t>Fyra avdelningar</a:t>
            </a:r>
          </a:p>
          <a:p>
            <a:pPr lvl="1"/>
            <a:r>
              <a:rPr lang="sv-SE" dirty="0" smtClean="0"/>
              <a:t>Dynamiska system, talteori, PDE, differentialgeometri</a:t>
            </a:r>
          </a:p>
          <a:p>
            <a:pPr lvl="1"/>
            <a:r>
              <a:rPr lang="sv-SE" dirty="0" smtClean="0"/>
              <a:t>Numerisk analys, optimeringslära, systemteori</a:t>
            </a:r>
          </a:p>
          <a:p>
            <a:pPr lvl="1"/>
            <a:r>
              <a:rPr lang="sv-SE" dirty="0" smtClean="0"/>
              <a:t>Algebraisk geometri, </a:t>
            </a:r>
            <a:r>
              <a:rPr lang="sv-SE" dirty="0" err="1" smtClean="0"/>
              <a:t>kombinatorik</a:t>
            </a:r>
            <a:r>
              <a:rPr lang="sv-SE" dirty="0" smtClean="0"/>
              <a:t>, algebraisk topologi</a:t>
            </a:r>
          </a:p>
          <a:p>
            <a:pPr lvl="1"/>
            <a:r>
              <a:rPr lang="sv-SE" dirty="0" smtClean="0"/>
              <a:t>Sannolikhetsteori och matematisk fysik, matematisk statistik</a:t>
            </a:r>
          </a:p>
          <a:p>
            <a:pPr marL="167878" lvl="1" indent="0">
              <a:buNone/>
            </a:pPr>
            <a:r>
              <a:rPr lang="sv-SE" dirty="0" smtClean="0"/>
              <a:t>30-40 personer per avdelning varav 13-15 </a:t>
            </a:r>
            <a:r>
              <a:rPr lang="sv-SE" dirty="0" smtClean="0"/>
              <a:t>fakultet</a:t>
            </a:r>
          </a:p>
          <a:p>
            <a:pPr marL="0" indent="0">
              <a:buNone/>
            </a:pPr>
            <a:r>
              <a:rPr lang="sv-SE" sz="1200" b="1" i="1" dirty="0" smtClean="0"/>
              <a:t>OBS Namnförslag </a:t>
            </a:r>
            <a:r>
              <a:rPr lang="sv-SE" sz="1200" b="1" i="1" dirty="0"/>
              <a:t>på de nya avdelningarna </a:t>
            </a:r>
            <a:r>
              <a:rPr lang="sv-SE" sz="1200" b="1" i="1" dirty="0" smtClean="0"/>
              <a:t>klart =&gt; 18 </a:t>
            </a:r>
            <a:r>
              <a:rPr lang="sv-SE" sz="1200" b="1" i="1" dirty="0"/>
              <a:t>sept</a:t>
            </a:r>
            <a:r>
              <a:rPr lang="sv-SE" sz="1200" b="1" i="1" dirty="0" smtClean="0"/>
              <a:t>.</a:t>
            </a:r>
            <a:r>
              <a:rPr lang="sv-SE" b="1" i="1" dirty="0" smtClean="0"/>
              <a:t/>
            </a:r>
            <a:br>
              <a:rPr lang="sv-SE" b="1" i="1" dirty="0" smtClean="0"/>
            </a:br>
            <a:endParaRPr lang="sv-SE" b="1" i="1" dirty="0" smtClean="0"/>
          </a:p>
          <a:p>
            <a:pPr marL="0" indent="0">
              <a:buNone/>
            </a:pPr>
            <a:r>
              <a:rPr lang="sv-SE" b="1" dirty="0" smtClean="0"/>
              <a:t>Nya </a:t>
            </a:r>
            <a:r>
              <a:rPr lang="sv-SE" b="1" dirty="0"/>
              <a:t>avdelningschefer </a:t>
            </a:r>
            <a:endParaRPr lang="sv-SE" b="1" dirty="0" smtClean="0"/>
          </a:p>
          <a:p>
            <a:pPr lvl="1"/>
            <a:r>
              <a:rPr lang="sv-SE" dirty="0" smtClean="0"/>
              <a:t>Kristian </a:t>
            </a:r>
            <a:r>
              <a:rPr lang="sv-SE" dirty="0" err="1" smtClean="0"/>
              <a:t>Bjerkelöv</a:t>
            </a:r>
            <a:endParaRPr lang="sv-SE" dirty="0" smtClean="0"/>
          </a:p>
          <a:p>
            <a:pPr lvl="1"/>
            <a:r>
              <a:rPr lang="sv-SE" dirty="0" smtClean="0"/>
              <a:t>Jennifer Ryan</a:t>
            </a:r>
          </a:p>
          <a:p>
            <a:pPr lvl="1"/>
            <a:r>
              <a:rPr lang="sv-SE" dirty="0" smtClean="0"/>
              <a:t>Johan Håstad</a:t>
            </a:r>
          </a:p>
          <a:p>
            <a:pPr lvl="1"/>
            <a:r>
              <a:rPr lang="sv-SE" dirty="0" smtClean="0"/>
              <a:t>Henrik Hult</a:t>
            </a:r>
            <a:br>
              <a:rPr lang="sv-SE" dirty="0" smtClean="0"/>
            </a:br>
            <a:r>
              <a:rPr lang="sv-SE" dirty="0"/>
              <a:t/>
            </a:r>
            <a:br>
              <a:rPr lang="sv-SE" dirty="0"/>
            </a:br>
            <a:endParaRPr lang="sv-SE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Matematik – klart!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56236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527FB4B-7893-4946-9C41-FB1EB79145A0}" type="slidenum">
              <a:rPr lang="sv-SE" smtClean="0"/>
              <a:t>19</a:t>
            </a:fld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A612C29-4FF1-4A4F-A907-03CBB0EDED27}" type="datetime1">
              <a:rPr lang="sv-SE" smtClean="0"/>
              <a:t>2023-09-12</a:t>
            </a:fld>
            <a:endParaRPr lang="sv-SE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sv-SE" dirty="0" smtClean="0"/>
              <a:t>KTH har sparbeting (ekonomi i balans) kombinerat med en höjning av redan höga lokalhyror…</a:t>
            </a:r>
            <a:endParaRPr lang="sv-SE" dirty="0"/>
          </a:p>
          <a:p>
            <a:pPr marL="0" indent="0">
              <a:buNone/>
            </a:pPr>
            <a:r>
              <a:rPr lang="sv-SE" dirty="0"/>
              <a:t>E</a:t>
            </a:r>
            <a:r>
              <a:rPr lang="sv-SE" dirty="0" smtClean="0"/>
              <a:t>ffektivisera </a:t>
            </a:r>
            <a:r>
              <a:rPr lang="sv-SE" dirty="0"/>
              <a:t>och optimera befintliga </a:t>
            </a:r>
            <a:r>
              <a:rPr lang="sv-SE" dirty="0" smtClean="0"/>
              <a:t>resurser</a:t>
            </a:r>
            <a:r>
              <a:rPr lang="sv-SE" dirty="0"/>
              <a:t>.</a:t>
            </a:r>
            <a:br>
              <a:rPr lang="sv-SE" dirty="0"/>
            </a:br>
            <a:r>
              <a:rPr lang="sv-SE" dirty="0"/>
              <a:t>- möjliga omgrupperingar för att frigöra </a:t>
            </a:r>
            <a:r>
              <a:rPr lang="sv-SE" dirty="0" smtClean="0"/>
              <a:t>ytor.</a:t>
            </a:r>
            <a:br>
              <a:rPr lang="sv-SE" dirty="0" smtClean="0"/>
            </a:br>
            <a:endParaRPr lang="sv-SE" dirty="0" smtClean="0"/>
          </a:p>
          <a:p>
            <a:pPr marL="0" indent="0">
              <a:buNone/>
            </a:pPr>
            <a:r>
              <a:rPr lang="sv-SE" b="1" dirty="0" smtClean="0"/>
              <a:t>Under sommaren 2023…</a:t>
            </a:r>
          </a:p>
          <a:p>
            <a:pPr marL="0" indent="0">
              <a:buNone/>
            </a:pPr>
            <a:r>
              <a:rPr lang="sv-SE" b="1" i="1" dirty="0" smtClean="0"/>
              <a:t>UTB-</a:t>
            </a:r>
            <a:r>
              <a:rPr lang="sv-SE" b="1" i="1" dirty="0" err="1" smtClean="0"/>
              <a:t>admin</a:t>
            </a:r>
            <a:r>
              <a:rPr lang="sv-SE" b="1" i="1" dirty="0" smtClean="0"/>
              <a:t> Matematik </a:t>
            </a:r>
            <a:r>
              <a:rPr lang="sv-SE" dirty="0" smtClean="0"/>
              <a:t>flyttat över till Teknikringen 8 = UTB-kansliet</a:t>
            </a:r>
            <a:br>
              <a:rPr lang="sv-SE" dirty="0" smtClean="0"/>
            </a:br>
            <a:r>
              <a:rPr lang="sv-SE" sz="1000" i="1" dirty="0" smtClean="0"/>
              <a:t>(för att ge plats åt </a:t>
            </a:r>
            <a:r>
              <a:rPr lang="sv-SE" sz="1000" i="1" dirty="0" err="1" smtClean="0"/>
              <a:t>postdocar</a:t>
            </a:r>
            <a:r>
              <a:rPr lang="sv-SE" sz="1000" i="1" dirty="0" smtClean="0"/>
              <a:t> som sitter utlokaliserade i andra lokaler.)</a:t>
            </a:r>
          </a:p>
          <a:p>
            <a:pPr marL="0" indent="0">
              <a:buNone/>
            </a:pPr>
            <a:r>
              <a:rPr lang="sv-SE" b="1" i="1" dirty="0" smtClean="0"/>
              <a:t>UTB-</a:t>
            </a:r>
            <a:r>
              <a:rPr lang="sv-SE" b="1" i="1" dirty="0" err="1" smtClean="0"/>
              <a:t>admin</a:t>
            </a:r>
            <a:r>
              <a:rPr lang="sv-SE" b="1" i="1" dirty="0" smtClean="0"/>
              <a:t> </a:t>
            </a:r>
            <a:r>
              <a:rPr lang="sv-SE" b="1" i="1" dirty="0" err="1" smtClean="0"/>
              <a:t>TekMek</a:t>
            </a:r>
            <a:r>
              <a:rPr lang="sv-SE" b="1" i="1" dirty="0" smtClean="0"/>
              <a:t> </a:t>
            </a:r>
            <a:r>
              <a:rPr lang="sv-SE" dirty="0" smtClean="0"/>
              <a:t>bytt </a:t>
            </a:r>
            <a:r>
              <a:rPr lang="sv-SE" dirty="0" err="1" smtClean="0"/>
              <a:t>orgtillhörighet</a:t>
            </a:r>
            <a:r>
              <a:rPr lang="sv-SE" dirty="0" smtClean="0"/>
              <a:t>  = UTB-kansliet</a:t>
            </a:r>
          </a:p>
          <a:p>
            <a:pPr marL="0" indent="0">
              <a:buNone/>
            </a:pPr>
            <a:r>
              <a:rPr lang="sv-SE" b="1" i="1" dirty="0" err="1" smtClean="0"/>
              <a:t>TekMek-admin</a:t>
            </a:r>
            <a:r>
              <a:rPr lang="sv-SE" dirty="0" smtClean="0"/>
              <a:t> och </a:t>
            </a:r>
            <a:r>
              <a:rPr lang="sv-SE" b="1" i="1" dirty="0" smtClean="0"/>
              <a:t>Matte-</a:t>
            </a:r>
            <a:r>
              <a:rPr lang="sv-SE" b="1" i="1" dirty="0" err="1" smtClean="0"/>
              <a:t>admin</a:t>
            </a:r>
            <a:r>
              <a:rPr lang="sv-SE" dirty="0" smtClean="0"/>
              <a:t> bildar en gemensam </a:t>
            </a:r>
            <a:r>
              <a:rPr lang="sv-SE" dirty="0" err="1" smtClean="0"/>
              <a:t>admingrupp</a:t>
            </a:r>
            <a:r>
              <a:rPr lang="sv-SE" dirty="0" smtClean="0"/>
              <a:t/>
            </a:r>
            <a:br>
              <a:rPr lang="sv-SE" dirty="0" smtClean="0"/>
            </a:br>
            <a:r>
              <a:rPr lang="sv-SE" dirty="0" smtClean="0"/>
              <a:t>= </a:t>
            </a:r>
            <a:r>
              <a:rPr lang="sv-SE" dirty="0" err="1" smtClean="0"/>
              <a:t>TekMekMat</a:t>
            </a:r>
            <a:r>
              <a:rPr lang="sv-SE" dirty="0" smtClean="0"/>
              <a:t/>
            </a:r>
            <a:br>
              <a:rPr lang="sv-SE" dirty="0" smtClean="0"/>
            </a:br>
            <a:r>
              <a:rPr lang="sv-SE" b="1" dirty="0" smtClean="0"/>
              <a:t>Erica Bergman </a:t>
            </a:r>
            <a:r>
              <a:rPr lang="sv-SE" dirty="0" smtClean="0"/>
              <a:t>gruppchef </a:t>
            </a:r>
            <a:br>
              <a:rPr lang="sv-SE" dirty="0" smtClean="0"/>
            </a:br>
            <a:r>
              <a:rPr lang="sv-SE" b="1" dirty="0"/>
              <a:t>Maria Runquist </a:t>
            </a:r>
            <a:r>
              <a:rPr lang="sv-SE" dirty="0" smtClean="0"/>
              <a:t>biträdande gruppchef</a:t>
            </a:r>
          </a:p>
          <a:p>
            <a:pPr marL="0" indent="0">
              <a:buNone/>
            </a:pPr>
            <a:r>
              <a:rPr lang="sv-SE" b="1" dirty="0" smtClean="0"/>
              <a:t>Skolkansliet</a:t>
            </a:r>
            <a:r>
              <a:rPr lang="sv-SE" dirty="0" smtClean="0"/>
              <a:t> TR8 vån 5 omflyttning = alla delar rum</a:t>
            </a:r>
            <a:br>
              <a:rPr lang="sv-SE" dirty="0" smtClean="0"/>
            </a:br>
            <a:endParaRPr lang="sv-SE" dirty="0" smtClean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>
              <a:buNone/>
            </a:pPr>
            <a:r>
              <a:rPr lang="sv-SE" dirty="0" smtClean="0">
                <a:solidFill>
                  <a:srgbClr val="5E87C0"/>
                </a:solidFill>
              </a:rPr>
              <a:t>Nyheter på SCI/KTH - </a:t>
            </a:r>
            <a:r>
              <a:rPr lang="sv-SE" dirty="0" err="1" smtClean="0">
                <a:solidFill>
                  <a:srgbClr val="5E87C0"/>
                </a:solidFill>
              </a:rPr>
              <a:t>admin</a:t>
            </a:r>
            <a:endParaRPr lang="sv-SE" dirty="0">
              <a:solidFill>
                <a:srgbClr val="5E87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6511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6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527FB4B-7893-4946-9C41-FB1EB79145A0}" type="slidenum">
              <a:rPr lang="sv-SE" smtClean="0"/>
              <a:t>2</a:t>
            </a:fld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A612C29-4FF1-4A4F-A907-03CBB0EDED27}" type="datetime1">
              <a:rPr lang="sv-SE" smtClean="0"/>
              <a:t>2023-09-12</a:t>
            </a:fld>
            <a:endParaRPr lang="sv-SE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033403" y="467346"/>
            <a:ext cx="5429251" cy="673874"/>
          </a:xfrm>
        </p:spPr>
        <p:txBody>
          <a:bodyPr/>
          <a:lstStyle/>
          <a:p>
            <a:pPr algn="ctr"/>
            <a:r>
              <a:rPr lang="sv-SE" sz="2400" dirty="0"/>
              <a:t>SCI –</a:t>
            </a:r>
            <a:r>
              <a:rPr lang="sv-SE" sz="2400" dirty="0" err="1"/>
              <a:t>admin</a:t>
            </a:r>
            <a:r>
              <a:rPr lang="sv-SE" sz="2400" dirty="0"/>
              <a:t> frukostmöte nr 1</a:t>
            </a:r>
            <a:r>
              <a:rPr lang="sv-SE" sz="2400" dirty="0" smtClean="0"/>
              <a:t> </a:t>
            </a:r>
            <a:r>
              <a:rPr lang="sv-SE" sz="2400" dirty="0"/>
              <a:t>- H</a:t>
            </a:r>
            <a:r>
              <a:rPr lang="sv-SE" sz="2400" dirty="0" smtClean="0"/>
              <a:t>T23</a:t>
            </a:r>
            <a:br>
              <a:rPr lang="sv-SE" sz="2400" dirty="0" smtClean="0"/>
            </a:br>
            <a:r>
              <a:rPr lang="sv-SE" sz="2400" dirty="0" smtClean="0"/>
              <a:t>2023-09-12</a:t>
            </a:r>
            <a:endParaRPr lang="sv-SE" sz="2400" dirty="0"/>
          </a:p>
        </p:txBody>
      </p:sp>
      <p:pic>
        <p:nvPicPr>
          <p:cNvPr id="11" name="Content Placeholder 10"/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913695" y="1644959"/>
            <a:ext cx="2505075" cy="158115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42570" y="1712796"/>
            <a:ext cx="2466975" cy="1847850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1668291" y="3716723"/>
            <a:ext cx="3500958" cy="8309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sv-SE" sz="5400" b="1" dirty="0" smtClean="0"/>
              <a:t>Välkomna!</a:t>
            </a:r>
            <a:endParaRPr lang="sv-SE" sz="5400" b="1" dirty="0"/>
          </a:p>
        </p:txBody>
      </p:sp>
    </p:spTree>
    <p:extLst>
      <p:ext uri="{BB962C8B-B14F-4D97-AF65-F5344CB8AC3E}">
        <p14:creationId xmlns:p14="http://schemas.microsoft.com/office/powerpoint/2010/main" val="422586383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6000">
        <p15:prstTrans prst="curtains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527FB4B-7893-4946-9C41-FB1EB79145A0}" type="slidenum">
              <a:rPr lang="sv-SE" smtClean="0"/>
              <a:t>20</a:t>
            </a:fld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A612C29-4FF1-4A4F-A907-03CBB0EDED27}" type="datetime1">
              <a:rPr lang="sv-SE" smtClean="0"/>
              <a:t>2023-09-12</a:t>
            </a:fld>
            <a:endParaRPr lang="sv-SE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sv-SE" dirty="0" smtClean="0"/>
              <a:t>Enkät utskickad igår från </a:t>
            </a:r>
            <a:r>
              <a:rPr lang="sv-SE" dirty="0" smtClean="0">
                <a:hlinkClick r:id="rId2"/>
              </a:rPr>
              <a:t>noreply@populum.io</a:t>
            </a:r>
            <a:r>
              <a:rPr lang="sv-SE" dirty="0" smtClean="0"/>
              <a:t> </a:t>
            </a:r>
          </a:p>
          <a:p>
            <a:pPr marL="0" indent="0">
              <a:buNone/>
            </a:pPr>
            <a:r>
              <a:rPr lang="sv-SE" dirty="0" smtClean="0"/>
              <a:t>Enkäten består av 10 </a:t>
            </a:r>
            <a:r>
              <a:rPr lang="sv-SE" dirty="0" err="1" smtClean="0"/>
              <a:t>st</a:t>
            </a:r>
            <a:r>
              <a:rPr lang="sv-SE" dirty="0" smtClean="0"/>
              <a:t> återkommande frågor samt 10-20 tematiserade/fokus frågor.</a:t>
            </a:r>
            <a:br>
              <a:rPr lang="sv-SE" dirty="0" smtClean="0"/>
            </a:br>
            <a:r>
              <a:rPr lang="sv-SE" dirty="0" smtClean="0"/>
              <a:t/>
            </a:r>
            <a:br>
              <a:rPr lang="sv-SE" dirty="0" smtClean="0"/>
            </a:br>
            <a:r>
              <a:rPr lang="sv-SE" b="1" dirty="0" smtClean="0"/>
              <a:t>Enkäten skickas kvartalsvis.</a:t>
            </a:r>
            <a:r>
              <a:rPr lang="sv-SE" dirty="0" smtClean="0"/>
              <a:t/>
            </a:r>
            <a:br>
              <a:rPr lang="sv-SE" dirty="0" smtClean="0"/>
            </a:br>
            <a:endParaRPr lang="sv-SE" dirty="0" smtClean="0"/>
          </a:p>
          <a:p>
            <a:pPr marL="0" indent="0">
              <a:buNone/>
            </a:pPr>
            <a:r>
              <a:rPr lang="sv-SE" dirty="0" smtClean="0"/>
              <a:t>De som ingår i undersökningen är alla viss- och tillsvidareanställda oavsett sysselsättningsgrad. </a:t>
            </a:r>
            <a:br>
              <a:rPr lang="sv-SE" dirty="0" smtClean="0"/>
            </a:br>
            <a:r>
              <a:rPr lang="sv-SE" dirty="0" smtClean="0"/>
              <a:t>För att en chef för en grupp ska få ett resultat presenterat behöver gruppen bestå av </a:t>
            </a:r>
            <a:r>
              <a:rPr lang="sv-SE" b="1" dirty="0" smtClean="0"/>
              <a:t>minst 7 respondenter</a:t>
            </a:r>
            <a:r>
              <a:rPr lang="sv-SE" dirty="0" smtClean="0"/>
              <a:t>.</a:t>
            </a:r>
          </a:p>
          <a:p>
            <a:pPr marL="0" indent="0">
              <a:buNone/>
            </a:pPr>
            <a:r>
              <a:rPr lang="sv-SE" dirty="0"/>
              <a:t>Resultatet </a:t>
            </a:r>
            <a:r>
              <a:rPr lang="sv-SE" dirty="0" smtClean="0"/>
              <a:t>har presenterats av samtliga gruppchefer i alla grupper!</a:t>
            </a:r>
          </a:p>
          <a:p>
            <a:pPr marL="0" indent="0">
              <a:buNone/>
            </a:pPr>
            <a:r>
              <a:rPr lang="sv-SE" dirty="0">
                <a:hlinkClick r:id="rId3"/>
              </a:rPr>
              <a:t>KTH medarbetarpuls | KTH Intranät</a:t>
            </a:r>
            <a:endParaRPr lang="sv-SE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174749" y="251752"/>
            <a:ext cx="5537777" cy="673874"/>
          </a:xfrm>
        </p:spPr>
        <p:txBody>
          <a:bodyPr/>
          <a:lstStyle/>
          <a:p>
            <a:r>
              <a:rPr lang="sv-SE" dirty="0" smtClean="0">
                <a:solidFill>
                  <a:schemeClr val="accent1"/>
                </a:solidFill>
              </a:rPr>
              <a:t>Medarbetarundersökning</a:t>
            </a:r>
            <a:endParaRPr lang="sv-SE" sz="1200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0428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144780" y="2080684"/>
            <a:ext cx="6522720" cy="536136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400" dirty="0"/>
          </a:p>
        </p:txBody>
      </p:sp>
      <p:sp>
        <p:nvSpPr>
          <p:cNvPr id="7" name="Rectangle 6"/>
          <p:cNvSpPr/>
          <p:nvPr/>
        </p:nvSpPr>
        <p:spPr>
          <a:xfrm>
            <a:off x="144780" y="1782014"/>
            <a:ext cx="6522720" cy="313486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400" dirty="0"/>
          </a:p>
        </p:txBody>
      </p:sp>
      <p:sp>
        <p:nvSpPr>
          <p:cNvPr id="10" name="Rectangle 9"/>
          <p:cNvSpPr/>
          <p:nvPr/>
        </p:nvSpPr>
        <p:spPr>
          <a:xfrm>
            <a:off x="144780" y="1430655"/>
            <a:ext cx="6522720" cy="351359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4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527FB4B-7893-4946-9C41-FB1EB79145A0}" type="slidenum">
              <a:rPr lang="sv-SE" smtClean="0"/>
              <a:t>21</a:t>
            </a:fld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A612C29-4FF1-4A4F-A907-03CBB0EDED27}" type="datetime1">
              <a:rPr lang="sv-SE" smtClean="0"/>
              <a:t>2023-09-12</a:t>
            </a:fld>
            <a:endParaRPr lang="sv-SE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254258" y="1208404"/>
            <a:ext cx="6591300" cy="3556075"/>
          </a:xfrm>
        </p:spPr>
        <p:txBody>
          <a:bodyPr/>
          <a:lstStyle/>
          <a:p>
            <a:pPr marL="0" indent="0">
              <a:buNone/>
            </a:pPr>
            <a:r>
              <a:rPr lang="sv-SE" b="1" dirty="0" smtClean="0"/>
              <a:t>Enkäten Öppnar/Stänger 	Resultat </a:t>
            </a:r>
            <a:r>
              <a:rPr lang="sv-SE" b="1" dirty="0"/>
              <a:t>	</a:t>
            </a:r>
            <a:r>
              <a:rPr lang="sv-SE" b="1" dirty="0" smtClean="0"/>
              <a:t>Fokusområde</a:t>
            </a:r>
            <a:endParaRPr lang="sv-SE" dirty="0"/>
          </a:p>
          <a:p>
            <a:pPr marL="0" indent="0">
              <a:buNone/>
            </a:pPr>
            <a:r>
              <a:rPr lang="sv-SE" dirty="0" smtClean="0"/>
              <a:t>7 feb - 15 feb		17 feb	Bemötande</a:t>
            </a:r>
          </a:p>
          <a:p>
            <a:pPr marL="0" indent="0">
              <a:buNone/>
            </a:pPr>
            <a:r>
              <a:rPr lang="sv-SE" dirty="0" smtClean="0"/>
              <a:t>9 maj</a:t>
            </a:r>
            <a:r>
              <a:rPr lang="sv-SE" dirty="0"/>
              <a:t> </a:t>
            </a:r>
            <a:r>
              <a:rPr lang="sv-SE" dirty="0" smtClean="0"/>
              <a:t>- 17 maj		18 maj	</a:t>
            </a:r>
            <a:r>
              <a:rPr lang="sv-SE" i="1" dirty="0" smtClean="0"/>
              <a:t>Organisation &amp; ledarskap</a:t>
            </a:r>
          </a:p>
          <a:p>
            <a:pPr marL="0" indent="0">
              <a:buNone/>
            </a:pPr>
            <a:r>
              <a:rPr lang="sv-SE" dirty="0" smtClean="0"/>
              <a:t>29 aug</a:t>
            </a:r>
            <a:r>
              <a:rPr lang="sv-SE" dirty="0"/>
              <a:t> </a:t>
            </a:r>
            <a:r>
              <a:rPr lang="sv-SE" dirty="0" smtClean="0"/>
              <a:t>- 6 </a:t>
            </a:r>
            <a:r>
              <a:rPr lang="sv-SE" dirty="0" err="1" smtClean="0"/>
              <a:t>sept</a:t>
            </a:r>
            <a:r>
              <a:rPr lang="sv-SE" dirty="0" smtClean="0"/>
              <a:t>		7 </a:t>
            </a:r>
            <a:r>
              <a:rPr lang="sv-SE" dirty="0" err="1" smtClean="0"/>
              <a:t>sept</a:t>
            </a:r>
            <a:r>
              <a:rPr lang="sv-SE" dirty="0" smtClean="0"/>
              <a:t> 	</a:t>
            </a:r>
            <a:r>
              <a:rPr lang="sv-SE" b="1" i="1" dirty="0"/>
              <a:t>Fysisk arbetsmiljö och </a:t>
            </a:r>
            <a:r>
              <a:rPr lang="sv-SE" b="1" i="1" dirty="0" smtClean="0"/>
              <a:t/>
            </a:r>
            <a:br>
              <a:rPr lang="sv-SE" b="1" i="1" dirty="0" smtClean="0"/>
            </a:br>
            <a:r>
              <a:rPr lang="sv-SE" b="1" i="1" dirty="0" smtClean="0"/>
              <a:t> 				systematiskt arbetsmiljöarbete</a:t>
            </a:r>
            <a:endParaRPr lang="sv-SE" b="1" i="1" dirty="0"/>
          </a:p>
          <a:p>
            <a:pPr marL="0" indent="0">
              <a:buNone/>
            </a:pPr>
            <a:r>
              <a:rPr lang="sv-SE" dirty="0" smtClean="0"/>
              <a:t>14 nov</a:t>
            </a:r>
            <a:r>
              <a:rPr lang="sv-SE" dirty="0"/>
              <a:t> </a:t>
            </a:r>
            <a:r>
              <a:rPr lang="sv-SE" dirty="0" smtClean="0"/>
              <a:t>- 22 nov		23 nov	</a:t>
            </a:r>
            <a:r>
              <a:rPr lang="sv-SE" i="1" dirty="0"/>
              <a:t>Digital </a:t>
            </a:r>
            <a:r>
              <a:rPr lang="sv-SE" i="1" dirty="0" smtClean="0"/>
              <a:t>arbetsmiljö</a:t>
            </a:r>
            <a:endParaRPr lang="sv-SE" i="1" dirty="0"/>
          </a:p>
          <a:p>
            <a:pPr marL="0" indent="0">
              <a:buNone/>
            </a:pPr>
            <a:endParaRPr lang="sv-SE" i="1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Medarbetarundersökning 2023</a:t>
            </a:r>
            <a:endParaRPr lang="sv-SE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144780" y="1430655"/>
            <a:ext cx="6522720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68175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7" grpId="0" animBg="1"/>
      <p:bldP spid="10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nummer 1">
            <a:extLst>
              <a:ext uri="{FF2B5EF4-FFF2-40B4-BE49-F238E27FC236}">
                <a16:creationId xmlns:a16="http://schemas.microsoft.com/office/drawing/2014/main" id="{54E2D41F-25B6-A47E-1616-BCEB35BEA2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422A9A3-8636-4A04-BD48-3153280FB086}" type="slidenum">
              <a:rPr lang="sv-SE">
                <a:solidFill>
                  <a:srgbClr val="000000">
                    <a:tint val="75000"/>
                  </a:srgbClr>
                </a:solidFill>
                <a:latin typeface="Arial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2</a:t>
            </a:fld>
            <a:endParaRPr lang="sv-SE">
              <a:solidFill>
                <a:srgbClr val="000000">
                  <a:tint val="75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82BC58BF-6655-FD31-5B11-27FF2CC9BC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FC578B17-D6C2-45F7-8587-7E2A13A71264}" type="datetime1">
              <a:rPr lang="sv-SE">
                <a:solidFill>
                  <a:srgbClr val="000000">
                    <a:tint val="75000"/>
                  </a:srgbClr>
                </a:solidFill>
                <a:latin typeface="Arial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3-09-12</a:t>
            </a:fld>
            <a:endParaRPr lang="sv-SE">
              <a:solidFill>
                <a:srgbClr val="000000">
                  <a:tint val="75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5" name="Rubrik 4">
            <a:extLst>
              <a:ext uri="{FF2B5EF4-FFF2-40B4-BE49-F238E27FC236}">
                <a16:creationId xmlns:a16="http://schemas.microsoft.com/office/drawing/2014/main" id="{4A53245C-68FA-2312-C7CF-24F7E4D6D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Verksamhetsstöd - SCI</a:t>
            </a:r>
          </a:p>
        </p:txBody>
      </p:sp>
      <p:sp>
        <p:nvSpPr>
          <p:cNvPr id="324" name="Rektangel 323">
            <a:extLst>
              <a:ext uri="{FF2B5EF4-FFF2-40B4-BE49-F238E27FC236}">
                <a16:creationId xmlns:a16="http://schemas.microsoft.com/office/drawing/2014/main" id="{B694DAA2-F204-EE32-0C16-6BF8DC980C86}"/>
              </a:ext>
            </a:extLst>
          </p:cNvPr>
          <p:cNvSpPr/>
          <p:nvPr/>
        </p:nvSpPr>
        <p:spPr>
          <a:xfrm>
            <a:off x="1087961" y="1880293"/>
            <a:ext cx="944437" cy="119015"/>
          </a:xfrm>
          <a:prstGeom prst="rect">
            <a:avLst/>
          </a:prstGeom>
          <a:noFill/>
        </p:spPr>
        <p:txBody>
          <a:bodyPr wrap="square" lIns="40500" tIns="0" rIns="40500" bIns="0" rtlCol="0" anchor="t"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14350" fontAlgn="auto">
              <a:spcBef>
                <a:spcPts val="0"/>
              </a:spcBef>
              <a:spcAft>
                <a:spcPts val="0"/>
              </a:spcAft>
            </a:pPr>
            <a:r>
              <a:rPr lang="en-US" sz="563" i="1">
                <a:solidFill>
                  <a:srgbClr val="000000"/>
                </a:solidFill>
                <a:latin typeface="Arial"/>
                <a:cs typeface="Arial"/>
              </a:rPr>
              <a:t>Inkluderar alla medarbetare inom Verksamhetsstöd - SCI</a:t>
            </a:r>
          </a:p>
        </p:txBody>
      </p:sp>
      <p:sp>
        <p:nvSpPr>
          <p:cNvPr id="325" name="Rektangel 3">
            <a:extLst>
              <a:ext uri="{FF2B5EF4-FFF2-40B4-BE49-F238E27FC236}">
                <a16:creationId xmlns:a16="http://schemas.microsoft.com/office/drawing/2014/main" id="{4872C0A3-C3CE-FC8F-5006-7D75BCE1DA72}"/>
              </a:ext>
            </a:extLst>
          </p:cNvPr>
          <p:cNvSpPr/>
          <p:nvPr/>
        </p:nvSpPr>
        <p:spPr>
          <a:xfrm>
            <a:off x="1087961" y="1758668"/>
            <a:ext cx="1188697" cy="121500"/>
          </a:xfrm>
          <a:prstGeom prst="rect">
            <a:avLst/>
          </a:prstGeom>
          <a:noFill/>
        </p:spPr>
        <p:txBody>
          <a:bodyPr wrap="square" lIns="40500" tIns="0" rIns="40500" bIns="0" rtlCol="0" anchor="b">
            <a:norm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14350" fontAlgn="auto">
              <a:spcBef>
                <a:spcPts val="0"/>
              </a:spcBef>
              <a:spcAft>
                <a:spcPts val="0"/>
              </a:spcAft>
            </a:pPr>
            <a:r>
              <a:rPr lang="en-US" sz="788" b="1">
                <a:solidFill>
                  <a:srgbClr val="000000"/>
                </a:solidFill>
                <a:latin typeface="Arial"/>
                <a:cs typeface="Arial"/>
              </a:rPr>
              <a:t>Översiktsrapport</a:t>
            </a:r>
          </a:p>
        </p:txBody>
      </p:sp>
      <p:sp>
        <p:nvSpPr>
          <p:cNvPr id="326" name="Rektangel 325">
            <a:extLst>
              <a:ext uri="{FF2B5EF4-FFF2-40B4-BE49-F238E27FC236}">
                <a16:creationId xmlns:a16="http://schemas.microsoft.com/office/drawing/2014/main" id="{4ECF34C1-3FC0-CC1B-A4F4-C21E64E724A0}"/>
              </a:ext>
            </a:extLst>
          </p:cNvPr>
          <p:cNvSpPr/>
          <p:nvPr/>
        </p:nvSpPr>
        <p:spPr>
          <a:xfrm>
            <a:off x="1087961" y="2750403"/>
            <a:ext cx="944437" cy="119015"/>
          </a:xfrm>
          <a:prstGeom prst="rect">
            <a:avLst/>
          </a:prstGeom>
          <a:noFill/>
        </p:spPr>
        <p:txBody>
          <a:bodyPr wrap="square" lIns="40500" tIns="0" rIns="40500" bIns="0" rtlCol="0" anchor="t"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14350" fontAlgn="auto">
              <a:spcBef>
                <a:spcPts val="0"/>
              </a:spcBef>
              <a:spcAft>
                <a:spcPts val="0"/>
              </a:spcAft>
            </a:pPr>
            <a:r>
              <a:rPr lang="en-US" sz="563" i="1">
                <a:solidFill>
                  <a:srgbClr val="000000"/>
                </a:solidFill>
                <a:latin typeface="Arial"/>
                <a:cs typeface="Arial"/>
              </a:rPr>
              <a:t>Undersökningsdatum</a:t>
            </a:r>
          </a:p>
        </p:txBody>
      </p:sp>
      <p:sp>
        <p:nvSpPr>
          <p:cNvPr id="327" name="Rektangel 3">
            <a:extLst>
              <a:ext uri="{FF2B5EF4-FFF2-40B4-BE49-F238E27FC236}">
                <a16:creationId xmlns:a16="http://schemas.microsoft.com/office/drawing/2014/main" id="{6F257DF7-F1B4-86DE-5336-0F9B26BE15FA}"/>
              </a:ext>
            </a:extLst>
          </p:cNvPr>
          <p:cNvSpPr/>
          <p:nvPr/>
        </p:nvSpPr>
        <p:spPr>
          <a:xfrm>
            <a:off x="1087961" y="2628777"/>
            <a:ext cx="1188697" cy="121500"/>
          </a:xfrm>
          <a:prstGeom prst="rect">
            <a:avLst/>
          </a:prstGeom>
          <a:noFill/>
        </p:spPr>
        <p:txBody>
          <a:bodyPr wrap="square" lIns="40500" tIns="0" rIns="40500" bIns="0" rtlCol="0" anchor="b">
            <a:norm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14350" fontAlgn="auto">
              <a:spcBef>
                <a:spcPts val="0"/>
              </a:spcBef>
              <a:spcAft>
                <a:spcPts val="0"/>
              </a:spcAft>
            </a:pPr>
            <a:r>
              <a:rPr lang="en-US" sz="788" b="1">
                <a:solidFill>
                  <a:srgbClr val="000000"/>
                </a:solidFill>
                <a:latin typeface="Arial"/>
                <a:cs typeface="Arial"/>
              </a:rPr>
              <a:t>2023-08-29</a:t>
            </a:r>
          </a:p>
        </p:txBody>
      </p:sp>
      <p:sp>
        <p:nvSpPr>
          <p:cNvPr id="328" name="Rektangel 327">
            <a:extLst>
              <a:ext uri="{FF2B5EF4-FFF2-40B4-BE49-F238E27FC236}">
                <a16:creationId xmlns:a16="http://schemas.microsoft.com/office/drawing/2014/main" id="{034D70DB-9A3A-3B00-38EE-8F4FA8EBDCF2}"/>
              </a:ext>
            </a:extLst>
          </p:cNvPr>
          <p:cNvSpPr/>
          <p:nvPr/>
        </p:nvSpPr>
        <p:spPr>
          <a:xfrm>
            <a:off x="1087961" y="3620513"/>
            <a:ext cx="944437" cy="119015"/>
          </a:xfrm>
          <a:prstGeom prst="rect">
            <a:avLst/>
          </a:prstGeom>
          <a:noFill/>
        </p:spPr>
        <p:txBody>
          <a:bodyPr wrap="square" lIns="40500" tIns="0" rIns="40500" bIns="0" rtlCol="0" anchor="t"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14350" fontAlgn="auto">
              <a:spcBef>
                <a:spcPts val="0"/>
              </a:spcBef>
              <a:spcAft>
                <a:spcPts val="0"/>
              </a:spcAft>
            </a:pPr>
            <a:r>
              <a:rPr lang="en-US" sz="563" i="1">
                <a:solidFill>
                  <a:srgbClr val="000000"/>
                </a:solidFill>
                <a:latin typeface="Arial"/>
                <a:cs typeface="Arial"/>
              </a:rPr>
              <a:t>Svarsfrekvens</a:t>
            </a:r>
          </a:p>
        </p:txBody>
      </p:sp>
      <p:sp>
        <p:nvSpPr>
          <p:cNvPr id="329" name="Rektangel 3">
            <a:extLst>
              <a:ext uri="{FF2B5EF4-FFF2-40B4-BE49-F238E27FC236}">
                <a16:creationId xmlns:a16="http://schemas.microsoft.com/office/drawing/2014/main" id="{007EF480-4B9D-B006-7439-8D0E40C861DB}"/>
              </a:ext>
            </a:extLst>
          </p:cNvPr>
          <p:cNvSpPr/>
          <p:nvPr/>
        </p:nvSpPr>
        <p:spPr>
          <a:xfrm>
            <a:off x="1087961" y="3498887"/>
            <a:ext cx="1188697" cy="121500"/>
          </a:xfrm>
          <a:prstGeom prst="rect">
            <a:avLst/>
          </a:prstGeom>
          <a:noFill/>
        </p:spPr>
        <p:txBody>
          <a:bodyPr wrap="square" lIns="40500" tIns="0" rIns="40500" bIns="0" rtlCol="0" anchor="b">
            <a:norm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14350" fontAlgn="auto">
              <a:spcBef>
                <a:spcPts val="0"/>
              </a:spcBef>
              <a:spcAft>
                <a:spcPts val="0"/>
              </a:spcAft>
            </a:pPr>
            <a:r>
              <a:rPr lang="en-US" sz="788" b="1">
                <a:solidFill>
                  <a:srgbClr val="000000"/>
                </a:solidFill>
                <a:latin typeface="Arial"/>
                <a:cs typeface="Arial"/>
              </a:rPr>
              <a:t>82 % (62 av 76)</a:t>
            </a:r>
          </a:p>
        </p:txBody>
      </p:sp>
      <p:sp>
        <p:nvSpPr>
          <p:cNvPr id="330" name="Rektangel 3">
            <a:extLst>
              <a:ext uri="{FF2B5EF4-FFF2-40B4-BE49-F238E27FC236}">
                <a16:creationId xmlns:a16="http://schemas.microsoft.com/office/drawing/2014/main" id="{8EF12458-3677-5004-4D58-F451A7C24465}"/>
              </a:ext>
            </a:extLst>
          </p:cNvPr>
          <p:cNvSpPr/>
          <p:nvPr/>
        </p:nvSpPr>
        <p:spPr>
          <a:xfrm>
            <a:off x="4353997" y="2683373"/>
            <a:ext cx="1215000" cy="121500"/>
          </a:xfrm>
          <a:prstGeom prst="rect">
            <a:avLst/>
          </a:prstGeom>
          <a:noFill/>
        </p:spPr>
        <p:txBody>
          <a:bodyPr wrap="square" lIns="40500" tIns="0" rIns="40500" bIns="0" rtlCol="0" anchor="ctr">
            <a:norm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14350" fontAlgn="auto">
              <a:spcBef>
                <a:spcPts val="0"/>
              </a:spcBef>
              <a:spcAft>
                <a:spcPts val="0"/>
              </a:spcAft>
            </a:pPr>
            <a:r>
              <a:rPr lang="en-US" sz="788" b="1">
                <a:solidFill>
                  <a:srgbClr val="000000"/>
                </a:solidFill>
                <a:latin typeface="Arial"/>
                <a:cs typeface="Arial"/>
              </a:rPr>
              <a:t>76 aktiva medarbetare</a:t>
            </a:r>
          </a:p>
        </p:txBody>
      </p:sp>
      <p:sp>
        <p:nvSpPr>
          <p:cNvPr id="332" name="Freeform 18">
            <a:extLst>
              <a:ext uri="{FF2B5EF4-FFF2-40B4-BE49-F238E27FC236}">
                <a16:creationId xmlns:a16="http://schemas.microsoft.com/office/drawing/2014/main" id="{C209D56C-19ED-9C17-A068-F76A7F886213}"/>
              </a:ext>
            </a:extLst>
          </p:cNvPr>
          <p:cNvSpPr/>
          <p:nvPr/>
        </p:nvSpPr>
        <p:spPr>
          <a:xfrm flipH="1">
            <a:off x="2276658" y="1879578"/>
            <a:ext cx="851892" cy="870110"/>
          </a:xfrm>
          <a:custGeom>
            <a:avLst/>
            <a:gdLst>
              <a:gd name="connsiteX0" fmla="*/ 1744224 w 1744224"/>
              <a:gd name="connsiteY0" fmla="*/ 0 h 966685"/>
              <a:gd name="connsiteX1" fmla="*/ 802640 w 1744224"/>
              <a:gd name="connsiteY1" fmla="*/ 1485 h 966685"/>
              <a:gd name="connsiteX2" fmla="*/ 0 w 1744224"/>
              <a:gd name="connsiteY2" fmla="*/ 966685 h 966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44224" h="966685">
                <a:moveTo>
                  <a:pt x="1744224" y="0"/>
                </a:moveTo>
                <a:lnTo>
                  <a:pt x="802640" y="1485"/>
                </a:lnTo>
                <a:lnTo>
                  <a:pt x="0" y="966685"/>
                </a:lnTo>
              </a:path>
            </a:pathLst>
          </a:custGeom>
          <a:noFill/>
          <a:ln w="19050" cap="sq" cmpd="sng" algn="ctr">
            <a:solidFill>
              <a:schemeClr val="bg1">
                <a:lumMod val="85000"/>
              </a:schemeClr>
            </a:solidFill>
            <a:prstDash val="solid"/>
            <a:round/>
            <a:headEnd type="oval"/>
          </a:ln>
          <a:effectLst/>
        </p:spPr>
        <p:txBody>
          <a:bodyPr rtlCol="0" anchor="ctr"/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1800" kern="0">
              <a:solidFill>
                <a:srgbClr val="4D4D4D"/>
              </a:solidFill>
              <a:latin typeface="Arial"/>
              <a:cs typeface="Arial"/>
            </a:endParaRPr>
          </a:p>
        </p:txBody>
      </p:sp>
      <p:sp>
        <p:nvSpPr>
          <p:cNvPr id="333" name="Freeform 18">
            <a:extLst>
              <a:ext uri="{FF2B5EF4-FFF2-40B4-BE49-F238E27FC236}">
                <a16:creationId xmlns:a16="http://schemas.microsoft.com/office/drawing/2014/main" id="{D74F8A6C-9FFD-404B-6D06-D29723C0E823}"/>
              </a:ext>
            </a:extLst>
          </p:cNvPr>
          <p:cNvSpPr/>
          <p:nvPr/>
        </p:nvSpPr>
        <p:spPr>
          <a:xfrm flipH="1" flipV="1">
            <a:off x="2276658" y="2749687"/>
            <a:ext cx="851892" cy="870701"/>
          </a:xfrm>
          <a:custGeom>
            <a:avLst/>
            <a:gdLst>
              <a:gd name="connsiteX0" fmla="*/ 1744224 w 1744224"/>
              <a:gd name="connsiteY0" fmla="*/ 0 h 966685"/>
              <a:gd name="connsiteX1" fmla="*/ 802640 w 1744224"/>
              <a:gd name="connsiteY1" fmla="*/ 1485 h 966685"/>
              <a:gd name="connsiteX2" fmla="*/ 0 w 1744224"/>
              <a:gd name="connsiteY2" fmla="*/ 966685 h 966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44224" h="966685">
                <a:moveTo>
                  <a:pt x="1744224" y="0"/>
                </a:moveTo>
                <a:lnTo>
                  <a:pt x="802640" y="1485"/>
                </a:lnTo>
                <a:lnTo>
                  <a:pt x="0" y="966685"/>
                </a:lnTo>
              </a:path>
            </a:pathLst>
          </a:custGeom>
          <a:noFill/>
          <a:ln w="19050" cap="sq" cmpd="sng" algn="ctr">
            <a:solidFill>
              <a:schemeClr val="bg1">
                <a:lumMod val="85000"/>
              </a:schemeClr>
            </a:solidFill>
            <a:prstDash val="solid"/>
            <a:round/>
            <a:headEnd type="oval"/>
          </a:ln>
          <a:effectLst/>
        </p:spPr>
        <p:txBody>
          <a:bodyPr rtlCol="0" anchor="ctr"/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1800" kern="0">
              <a:solidFill>
                <a:srgbClr val="4D4D4D"/>
              </a:solidFill>
              <a:latin typeface="Arial"/>
              <a:cs typeface="Arial"/>
            </a:endParaRPr>
          </a:p>
        </p:txBody>
      </p:sp>
      <p:cxnSp>
        <p:nvCxnSpPr>
          <p:cNvPr id="334" name="Rak koppling 333">
            <a:extLst>
              <a:ext uri="{FF2B5EF4-FFF2-40B4-BE49-F238E27FC236}">
                <a16:creationId xmlns:a16="http://schemas.microsoft.com/office/drawing/2014/main" id="{405C2EF9-FC0F-32A2-1B8D-F60EAFFF3244}"/>
              </a:ext>
            </a:extLst>
          </p:cNvPr>
          <p:cNvCxnSpPr/>
          <p:nvPr/>
        </p:nvCxnSpPr>
        <p:spPr>
          <a:xfrm>
            <a:off x="2276658" y="2750277"/>
            <a:ext cx="843375" cy="0"/>
          </a:xfrm>
          <a:prstGeom prst="line">
            <a:avLst/>
          </a:prstGeom>
          <a:noFill/>
          <a:ln w="19050" cap="sq" cmpd="sng" algn="ctr">
            <a:solidFill>
              <a:schemeClr val="bg1">
                <a:lumMod val="85000"/>
              </a:schemeClr>
            </a:solidFill>
            <a:prstDash val="solid"/>
            <a:round/>
            <a:headEnd type="oval"/>
          </a:ln>
          <a:effectLst/>
        </p:spPr>
      </p:cxnSp>
      <p:cxnSp>
        <p:nvCxnSpPr>
          <p:cNvPr id="339" name="Rak koppling 338">
            <a:extLst>
              <a:ext uri="{FF2B5EF4-FFF2-40B4-BE49-F238E27FC236}">
                <a16:creationId xmlns:a16="http://schemas.microsoft.com/office/drawing/2014/main" id="{A9ABDC70-91BF-415E-E326-54497C25B539}"/>
              </a:ext>
            </a:extLst>
          </p:cNvPr>
          <p:cNvCxnSpPr/>
          <p:nvPr/>
        </p:nvCxnSpPr>
        <p:spPr>
          <a:xfrm flipH="1">
            <a:off x="3156678" y="2749097"/>
            <a:ext cx="708573" cy="0"/>
          </a:xfrm>
          <a:prstGeom prst="line">
            <a:avLst/>
          </a:prstGeom>
          <a:noFill/>
          <a:ln w="19050" cap="sq" cmpd="sng" algn="ctr">
            <a:solidFill>
              <a:schemeClr val="bg1">
                <a:lumMod val="85000"/>
              </a:schemeClr>
            </a:solidFill>
            <a:prstDash val="solid"/>
            <a:round/>
            <a:headEnd type="oval"/>
          </a:ln>
          <a:effectLst/>
        </p:spPr>
      </p:cxnSp>
      <p:sp>
        <p:nvSpPr>
          <p:cNvPr id="340" name="Ellips 339">
            <a:extLst>
              <a:ext uri="{FF2B5EF4-FFF2-40B4-BE49-F238E27FC236}">
                <a16:creationId xmlns:a16="http://schemas.microsoft.com/office/drawing/2014/main" id="{0FB425F8-8262-A924-9CAB-A33A54B87299}"/>
              </a:ext>
            </a:extLst>
          </p:cNvPr>
          <p:cNvSpPr/>
          <p:nvPr/>
        </p:nvSpPr>
        <p:spPr>
          <a:xfrm>
            <a:off x="3084445" y="2712981"/>
            <a:ext cx="72233" cy="72233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1013" kern="0">
              <a:solidFill>
                <a:prstClr val="white"/>
              </a:solidFill>
              <a:latin typeface="Arial"/>
              <a:cs typeface="Arial"/>
            </a:endParaRPr>
          </a:p>
        </p:txBody>
      </p:sp>
      <p:grpSp>
        <p:nvGrpSpPr>
          <p:cNvPr id="341" name="Grupp 340">
            <a:extLst>
              <a:ext uri="{FF2B5EF4-FFF2-40B4-BE49-F238E27FC236}">
                <a16:creationId xmlns:a16="http://schemas.microsoft.com/office/drawing/2014/main" id="{40B81F9F-9B54-FB38-9521-8D0AB50CC93A}"/>
              </a:ext>
            </a:extLst>
          </p:cNvPr>
          <p:cNvGrpSpPr/>
          <p:nvPr/>
        </p:nvGrpSpPr>
        <p:grpSpPr>
          <a:xfrm>
            <a:off x="813959" y="2603411"/>
            <a:ext cx="261094" cy="268766"/>
            <a:chOff x="1447036" y="3324420"/>
            <a:chExt cx="1156803" cy="1190794"/>
          </a:xfrm>
        </p:grpSpPr>
        <p:sp>
          <p:nvSpPr>
            <p:cNvPr id="342" name="Frihandsfigur: Form 341">
              <a:extLst>
                <a:ext uri="{FF2B5EF4-FFF2-40B4-BE49-F238E27FC236}">
                  <a16:creationId xmlns:a16="http://schemas.microsoft.com/office/drawing/2014/main" id="{1BF1849F-3F95-64A3-0529-03341C51CC07}"/>
                </a:ext>
              </a:extLst>
            </p:cNvPr>
            <p:cNvSpPr/>
            <p:nvPr/>
          </p:nvSpPr>
          <p:spPr>
            <a:xfrm>
              <a:off x="1464477" y="3455710"/>
              <a:ext cx="1098662" cy="1042062"/>
            </a:xfrm>
            <a:custGeom>
              <a:avLst/>
              <a:gdLst>
                <a:gd name="connsiteX0" fmla="*/ 1087532 w 1148301"/>
                <a:gd name="connsiteY0" fmla="*/ 1089147 h 1089146"/>
                <a:gd name="connsiteX1" fmla="*/ 60771 w 1148301"/>
                <a:gd name="connsiteY1" fmla="*/ 1089147 h 1089146"/>
                <a:gd name="connsiteX2" fmla="*/ 0 w 1148301"/>
                <a:gd name="connsiteY2" fmla="*/ 1028375 h 1089146"/>
                <a:gd name="connsiteX3" fmla="*/ 0 w 1148301"/>
                <a:gd name="connsiteY3" fmla="*/ 60771 h 1089146"/>
                <a:gd name="connsiteX4" fmla="*/ 60771 w 1148301"/>
                <a:gd name="connsiteY4" fmla="*/ 0 h 1089146"/>
                <a:gd name="connsiteX5" fmla="*/ 1087530 w 1148301"/>
                <a:gd name="connsiteY5" fmla="*/ 0 h 1089146"/>
                <a:gd name="connsiteX6" fmla="*/ 1148302 w 1148301"/>
                <a:gd name="connsiteY6" fmla="*/ 60771 h 1089146"/>
                <a:gd name="connsiteX7" fmla="*/ 1148302 w 1148301"/>
                <a:gd name="connsiteY7" fmla="*/ 1028375 h 1089146"/>
                <a:gd name="connsiteX8" fmla="*/ 1087532 w 1148301"/>
                <a:gd name="connsiteY8" fmla="*/ 1089147 h 1089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48301" h="1089146">
                  <a:moveTo>
                    <a:pt x="1087532" y="1089147"/>
                  </a:moveTo>
                  <a:lnTo>
                    <a:pt x="60771" y="1089147"/>
                  </a:lnTo>
                  <a:cubicBezTo>
                    <a:pt x="27209" y="1089147"/>
                    <a:pt x="0" y="1061938"/>
                    <a:pt x="0" y="1028375"/>
                  </a:cubicBezTo>
                  <a:lnTo>
                    <a:pt x="0" y="60771"/>
                  </a:lnTo>
                  <a:cubicBezTo>
                    <a:pt x="0" y="27209"/>
                    <a:pt x="27209" y="0"/>
                    <a:pt x="60771" y="0"/>
                  </a:cubicBezTo>
                  <a:lnTo>
                    <a:pt x="1087530" y="0"/>
                  </a:lnTo>
                  <a:cubicBezTo>
                    <a:pt x="1121093" y="0"/>
                    <a:pt x="1148302" y="27209"/>
                    <a:pt x="1148302" y="60771"/>
                  </a:cubicBezTo>
                  <a:lnTo>
                    <a:pt x="1148302" y="1028375"/>
                  </a:lnTo>
                  <a:cubicBezTo>
                    <a:pt x="1148304" y="1061938"/>
                    <a:pt x="1121095" y="1089147"/>
                    <a:pt x="1087532" y="1089147"/>
                  </a:cubicBezTo>
                  <a:close/>
                </a:path>
              </a:pathLst>
            </a:custGeom>
            <a:solidFill>
              <a:srgbClr val="F8F8F8"/>
            </a:solidFill>
            <a:ln w="2418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343" name="Frihandsfigur: Form 342">
              <a:extLst>
                <a:ext uri="{FF2B5EF4-FFF2-40B4-BE49-F238E27FC236}">
                  <a16:creationId xmlns:a16="http://schemas.microsoft.com/office/drawing/2014/main" id="{8936D4AF-A25F-7147-3EEE-57FA2A7E9D39}"/>
                </a:ext>
              </a:extLst>
            </p:cNvPr>
            <p:cNvSpPr/>
            <p:nvPr/>
          </p:nvSpPr>
          <p:spPr>
            <a:xfrm>
              <a:off x="2458481" y="3455710"/>
              <a:ext cx="127917" cy="1042062"/>
            </a:xfrm>
            <a:custGeom>
              <a:avLst/>
              <a:gdLst>
                <a:gd name="connsiteX0" fmla="*/ 72926 w 133697"/>
                <a:gd name="connsiteY0" fmla="*/ 0 h 1089146"/>
                <a:gd name="connsiteX1" fmla="*/ 0 w 133697"/>
                <a:gd name="connsiteY1" fmla="*/ 0 h 1089146"/>
                <a:gd name="connsiteX2" fmla="*/ 60771 w 133697"/>
                <a:gd name="connsiteY2" fmla="*/ 60771 h 1089146"/>
                <a:gd name="connsiteX3" fmla="*/ 60771 w 133697"/>
                <a:gd name="connsiteY3" fmla="*/ 1028375 h 1089146"/>
                <a:gd name="connsiteX4" fmla="*/ 0 w 133697"/>
                <a:gd name="connsiteY4" fmla="*/ 1089147 h 1089146"/>
                <a:gd name="connsiteX5" fmla="*/ 72926 w 133697"/>
                <a:gd name="connsiteY5" fmla="*/ 1089147 h 1089146"/>
                <a:gd name="connsiteX6" fmla="*/ 133697 w 133697"/>
                <a:gd name="connsiteY6" fmla="*/ 1028375 h 1089146"/>
                <a:gd name="connsiteX7" fmla="*/ 133697 w 133697"/>
                <a:gd name="connsiteY7" fmla="*/ 60771 h 1089146"/>
                <a:gd name="connsiteX8" fmla="*/ 72926 w 133697"/>
                <a:gd name="connsiteY8" fmla="*/ 0 h 1089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3697" h="1089146">
                  <a:moveTo>
                    <a:pt x="72926" y="0"/>
                  </a:moveTo>
                  <a:lnTo>
                    <a:pt x="0" y="0"/>
                  </a:lnTo>
                  <a:cubicBezTo>
                    <a:pt x="33563" y="0"/>
                    <a:pt x="60771" y="27209"/>
                    <a:pt x="60771" y="60771"/>
                  </a:cubicBezTo>
                  <a:lnTo>
                    <a:pt x="60771" y="1028375"/>
                  </a:lnTo>
                  <a:cubicBezTo>
                    <a:pt x="60771" y="1061938"/>
                    <a:pt x="33563" y="1089147"/>
                    <a:pt x="0" y="1089147"/>
                  </a:cubicBezTo>
                  <a:lnTo>
                    <a:pt x="72926" y="1089147"/>
                  </a:lnTo>
                  <a:cubicBezTo>
                    <a:pt x="106489" y="1089147"/>
                    <a:pt x="133697" y="1061938"/>
                    <a:pt x="133697" y="1028375"/>
                  </a:cubicBezTo>
                  <a:lnTo>
                    <a:pt x="133697" y="60771"/>
                  </a:lnTo>
                  <a:cubicBezTo>
                    <a:pt x="133697" y="27209"/>
                    <a:pt x="106489" y="0"/>
                    <a:pt x="72926" y="0"/>
                  </a:cubicBezTo>
                  <a:close/>
                </a:path>
              </a:pathLst>
            </a:custGeom>
            <a:solidFill>
              <a:srgbClr val="F4F4F4"/>
            </a:solidFill>
            <a:ln w="2418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344" name="Frihandsfigur: Form 343">
              <a:extLst>
                <a:ext uri="{FF2B5EF4-FFF2-40B4-BE49-F238E27FC236}">
                  <a16:creationId xmlns:a16="http://schemas.microsoft.com/office/drawing/2014/main" id="{96F0CB4E-44A4-2CC5-22E3-44424066FB43}"/>
                </a:ext>
              </a:extLst>
            </p:cNvPr>
            <p:cNvSpPr/>
            <p:nvPr/>
          </p:nvSpPr>
          <p:spPr>
            <a:xfrm>
              <a:off x="1464477" y="3455710"/>
              <a:ext cx="1121921" cy="250723"/>
            </a:xfrm>
            <a:custGeom>
              <a:avLst/>
              <a:gdLst>
                <a:gd name="connsiteX0" fmla="*/ 58144 w 1121921"/>
                <a:gd name="connsiteY0" fmla="*/ 0 h 250723"/>
                <a:gd name="connsiteX1" fmla="*/ 206652 w 1121921"/>
                <a:gd name="connsiteY1" fmla="*/ 0 h 250723"/>
                <a:gd name="connsiteX2" fmla="*/ 261834 w 1121921"/>
                <a:gd name="connsiteY2" fmla="*/ 23258 h 250723"/>
                <a:gd name="connsiteX3" fmla="*/ 317015 w 1121921"/>
                <a:gd name="connsiteY3" fmla="*/ 0 h 250723"/>
                <a:gd name="connsiteX4" fmla="*/ 552295 w 1121921"/>
                <a:gd name="connsiteY4" fmla="*/ 0 h 250723"/>
                <a:gd name="connsiteX5" fmla="*/ 607476 w 1121921"/>
                <a:gd name="connsiteY5" fmla="*/ 23258 h 250723"/>
                <a:gd name="connsiteX6" fmla="*/ 662658 w 1121921"/>
                <a:gd name="connsiteY6" fmla="*/ 0 h 250723"/>
                <a:gd name="connsiteX7" fmla="*/ 897939 w 1121921"/>
                <a:gd name="connsiteY7" fmla="*/ 0 h 250723"/>
                <a:gd name="connsiteX8" fmla="*/ 953120 w 1121921"/>
                <a:gd name="connsiteY8" fmla="*/ 23258 h 250723"/>
                <a:gd name="connsiteX9" fmla="*/ 1003671 w 1121921"/>
                <a:gd name="connsiteY9" fmla="*/ 1952 h 250723"/>
                <a:gd name="connsiteX10" fmla="*/ 994004 w 1121921"/>
                <a:gd name="connsiteY10" fmla="*/ 0 h 250723"/>
                <a:gd name="connsiteX11" fmla="*/ 1008302 w 1121921"/>
                <a:gd name="connsiteY11" fmla="*/ 0 h 250723"/>
                <a:gd name="connsiteX12" fmla="*/ 1040520 w 1121921"/>
                <a:gd name="connsiteY12" fmla="*/ 0 h 250723"/>
                <a:gd name="connsiteX13" fmla="*/ 1063777 w 1121921"/>
                <a:gd name="connsiteY13" fmla="*/ 0 h 250723"/>
                <a:gd name="connsiteX14" fmla="*/ 1121921 w 1121921"/>
                <a:gd name="connsiteY14" fmla="*/ 58144 h 250723"/>
                <a:gd name="connsiteX15" fmla="*/ 1121921 w 1121921"/>
                <a:gd name="connsiteY15" fmla="*/ 250723 h 250723"/>
                <a:gd name="connsiteX16" fmla="*/ 1098663 w 1121921"/>
                <a:gd name="connsiteY16" fmla="*/ 250723 h 250723"/>
                <a:gd name="connsiteX17" fmla="*/ 1052148 w 1121921"/>
                <a:gd name="connsiteY17" fmla="*/ 250723 h 250723"/>
                <a:gd name="connsiteX18" fmla="*/ 0 w 1121921"/>
                <a:gd name="connsiteY18" fmla="*/ 250723 h 250723"/>
                <a:gd name="connsiteX19" fmla="*/ 0 w 1121921"/>
                <a:gd name="connsiteY19" fmla="*/ 58144 h 250723"/>
                <a:gd name="connsiteX20" fmla="*/ 58144 w 1121921"/>
                <a:gd name="connsiteY20" fmla="*/ 0 h 250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21921" h="250723">
                  <a:moveTo>
                    <a:pt x="58144" y="0"/>
                  </a:moveTo>
                  <a:lnTo>
                    <a:pt x="206652" y="0"/>
                  </a:lnTo>
                  <a:lnTo>
                    <a:pt x="261834" y="23258"/>
                  </a:lnTo>
                  <a:lnTo>
                    <a:pt x="317015" y="0"/>
                  </a:lnTo>
                  <a:lnTo>
                    <a:pt x="552295" y="0"/>
                  </a:lnTo>
                  <a:lnTo>
                    <a:pt x="607476" y="23258"/>
                  </a:lnTo>
                  <a:lnTo>
                    <a:pt x="662658" y="0"/>
                  </a:lnTo>
                  <a:lnTo>
                    <a:pt x="897939" y="0"/>
                  </a:lnTo>
                  <a:lnTo>
                    <a:pt x="953120" y="23258"/>
                  </a:lnTo>
                  <a:lnTo>
                    <a:pt x="1003671" y="1952"/>
                  </a:lnTo>
                  <a:lnTo>
                    <a:pt x="994004" y="0"/>
                  </a:lnTo>
                  <a:lnTo>
                    <a:pt x="1008302" y="0"/>
                  </a:lnTo>
                  <a:lnTo>
                    <a:pt x="1040520" y="0"/>
                  </a:lnTo>
                  <a:lnTo>
                    <a:pt x="1063777" y="0"/>
                  </a:lnTo>
                  <a:cubicBezTo>
                    <a:pt x="1095889" y="0"/>
                    <a:pt x="1121921" y="26033"/>
                    <a:pt x="1121921" y="58144"/>
                  </a:cubicBezTo>
                  <a:lnTo>
                    <a:pt x="1121921" y="250723"/>
                  </a:lnTo>
                  <a:lnTo>
                    <a:pt x="1098663" y="250723"/>
                  </a:lnTo>
                  <a:lnTo>
                    <a:pt x="1052148" y="250723"/>
                  </a:lnTo>
                  <a:lnTo>
                    <a:pt x="0" y="250723"/>
                  </a:lnTo>
                  <a:lnTo>
                    <a:pt x="0" y="58144"/>
                  </a:lnTo>
                  <a:cubicBezTo>
                    <a:pt x="0" y="26033"/>
                    <a:pt x="26033" y="0"/>
                    <a:pt x="58144" y="0"/>
                  </a:cubicBezTo>
                  <a:close/>
                </a:path>
              </a:pathLst>
            </a:custGeom>
            <a:solidFill>
              <a:schemeClr val="accent1"/>
            </a:solidFill>
            <a:ln w="2418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345" name="Frihandsfigur: Form 344">
              <a:extLst>
                <a:ext uri="{FF2B5EF4-FFF2-40B4-BE49-F238E27FC236}">
                  <a16:creationId xmlns:a16="http://schemas.microsoft.com/office/drawing/2014/main" id="{3FE057BD-4BBF-815F-645E-14E44842462B}"/>
                </a:ext>
              </a:extLst>
            </p:cNvPr>
            <p:cNvSpPr/>
            <p:nvPr/>
          </p:nvSpPr>
          <p:spPr>
            <a:xfrm>
              <a:off x="2362415" y="3455710"/>
              <a:ext cx="110361" cy="113847"/>
            </a:xfrm>
            <a:custGeom>
              <a:avLst/>
              <a:gdLst>
                <a:gd name="connsiteX0" fmla="*/ 57675 w 115349"/>
                <a:gd name="connsiteY0" fmla="*/ 118991 h 118990"/>
                <a:gd name="connsiteX1" fmla="*/ 115349 w 115349"/>
                <a:gd name="connsiteY1" fmla="*/ 61316 h 118990"/>
                <a:gd name="connsiteX2" fmla="*/ 115349 w 115349"/>
                <a:gd name="connsiteY2" fmla="*/ 0 h 118990"/>
                <a:gd name="connsiteX3" fmla="*/ 0 w 115349"/>
                <a:gd name="connsiteY3" fmla="*/ 0 h 118990"/>
                <a:gd name="connsiteX4" fmla="*/ 0 w 115349"/>
                <a:gd name="connsiteY4" fmla="*/ 61316 h 118990"/>
                <a:gd name="connsiteX5" fmla="*/ 57675 w 115349"/>
                <a:gd name="connsiteY5" fmla="*/ 118991 h 118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5349" h="118990">
                  <a:moveTo>
                    <a:pt x="57675" y="118991"/>
                  </a:moveTo>
                  <a:cubicBezTo>
                    <a:pt x="89529" y="118991"/>
                    <a:pt x="115349" y="93170"/>
                    <a:pt x="115349" y="61316"/>
                  </a:cubicBezTo>
                  <a:lnTo>
                    <a:pt x="115349" y="0"/>
                  </a:lnTo>
                  <a:lnTo>
                    <a:pt x="0" y="0"/>
                  </a:lnTo>
                  <a:lnTo>
                    <a:pt x="0" y="61316"/>
                  </a:lnTo>
                  <a:cubicBezTo>
                    <a:pt x="0" y="93170"/>
                    <a:pt x="25821" y="118991"/>
                    <a:pt x="57675" y="118991"/>
                  </a:cubicBezTo>
                  <a:close/>
                </a:path>
              </a:pathLst>
            </a:custGeom>
            <a:solidFill>
              <a:srgbClr val="000000">
                <a:alpha val="25098"/>
              </a:srgbClr>
            </a:solidFill>
            <a:ln w="2418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346" name="Frihandsfigur: Form 345">
              <a:extLst>
                <a:ext uri="{FF2B5EF4-FFF2-40B4-BE49-F238E27FC236}">
                  <a16:creationId xmlns:a16="http://schemas.microsoft.com/office/drawing/2014/main" id="{12E2785D-FE41-982B-BEEE-304937A1F1B7}"/>
                </a:ext>
              </a:extLst>
            </p:cNvPr>
            <p:cNvSpPr/>
            <p:nvPr/>
          </p:nvSpPr>
          <p:spPr>
            <a:xfrm>
              <a:off x="2016771" y="3455710"/>
              <a:ext cx="110361" cy="113847"/>
            </a:xfrm>
            <a:custGeom>
              <a:avLst/>
              <a:gdLst>
                <a:gd name="connsiteX0" fmla="*/ 57675 w 115349"/>
                <a:gd name="connsiteY0" fmla="*/ 118991 h 118990"/>
                <a:gd name="connsiteX1" fmla="*/ 115349 w 115349"/>
                <a:gd name="connsiteY1" fmla="*/ 61316 h 118990"/>
                <a:gd name="connsiteX2" fmla="*/ 115349 w 115349"/>
                <a:gd name="connsiteY2" fmla="*/ 0 h 118990"/>
                <a:gd name="connsiteX3" fmla="*/ 0 w 115349"/>
                <a:gd name="connsiteY3" fmla="*/ 0 h 118990"/>
                <a:gd name="connsiteX4" fmla="*/ 0 w 115349"/>
                <a:gd name="connsiteY4" fmla="*/ 61316 h 118990"/>
                <a:gd name="connsiteX5" fmla="*/ 57675 w 115349"/>
                <a:gd name="connsiteY5" fmla="*/ 118991 h 118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5349" h="118990">
                  <a:moveTo>
                    <a:pt x="57675" y="118991"/>
                  </a:moveTo>
                  <a:cubicBezTo>
                    <a:pt x="89529" y="118991"/>
                    <a:pt x="115349" y="93170"/>
                    <a:pt x="115349" y="61316"/>
                  </a:cubicBezTo>
                  <a:lnTo>
                    <a:pt x="115349" y="0"/>
                  </a:lnTo>
                  <a:lnTo>
                    <a:pt x="0" y="0"/>
                  </a:lnTo>
                  <a:lnTo>
                    <a:pt x="0" y="61316"/>
                  </a:lnTo>
                  <a:cubicBezTo>
                    <a:pt x="0" y="93170"/>
                    <a:pt x="25823" y="118991"/>
                    <a:pt x="57675" y="118991"/>
                  </a:cubicBezTo>
                  <a:close/>
                </a:path>
              </a:pathLst>
            </a:custGeom>
            <a:solidFill>
              <a:srgbClr val="000000">
                <a:alpha val="25098"/>
              </a:srgbClr>
            </a:solidFill>
            <a:ln w="2418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347" name="Frihandsfigur: Form 346">
              <a:extLst>
                <a:ext uri="{FF2B5EF4-FFF2-40B4-BE49-F238E27FC236}">
                  <a16:creationId xmlns:a16="http://schemas.microsoft.com/office/drawing/2014/main" id="{E3E4395B-4192-3DA8-AC44-09B55772B4B9}"/>
                </a:ext>
              </a:extLst>
            </p:cNvPr>
            <p:cNvSpPr/>
            <p:nvPr/>
          </p:nvSpPr>
          <p:spPr>
            <a:xfrm>
              <a:off x="1671128" y="3455710"/>
              <a:ext cx="110361" cy="113847"/>
            </a:xfrm>
            <a:custGeom>
              <a:avLst/>
              <a:gdLst>
                <a:gd name="connsiteX0" fmla="*/ 57675 w 115349"/>
                <a:gd name="connsiteY0" fmla="*/ 118991 h 118990"/>
                <a:gd name="connsiteX1" fmla="*/ 115349 w 115349"/>
                <a:gd name="connsiteY1" fmla="*/ 61316 h 118990"/>
                <a:gd name="connsiteX2" fmla="*/ 115349 w 115349"/>
                <a:gd name="connsiteY2" fmla="*/ 0 h 118990"/>
                <a:gd name="connsiteX3" fmla="*/ 0 w 115349"/>
                <a:gd name="connsiteY3" fmla="*/ 0 h 118990"/>
                <a:gd name="connsiteX4" fmla="*/ 0 w 115349"/>
                <a:gd name="connsiteY4" fmla="*/ 61316 h 118990"/>
                <a:gd name="connsiteX5" fmla="*/ 57675 w 115349"/>
                <a:gd name="connsiteY5" fmla="*/ 118991 h 118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5349" h="118990">
                  <a:moveTo>
                    <a:pt x="57675" y="118991"/>
                  </a:moveTo>
                  <a:cubicBezTo>
                    <a:pt x="89529" y="118991"/>
                    <a:pt x="115349" y="93170"/>
                    <a:pt x="115349" y="61316"/>
                  </a:cubicBezTo>
                  <a:lnTo>
                    <a:pt x="115349" y="0"/>
                  </a:lnTo>
                  <a:lnTo>
                    <a:pt x="0" y="0"/>
                  </a:lnTo>
                  <a:lnTo>
                    <a:pt x="0" y="61316"/>
                  </a:lnTo>
                  <a:cubicBezTo>
                    <a:pt x="0" y="93170"/>
                    <a:pt x="25823" y="118991"/>
                    <a:pt x="57675" y="118991"/>
                  </a:cubicBezTo>
                  <a:close/>
                </a:path>
              </a:pathLst>
            </a:custGeom>
            <a:solidFill>
              <a:srgbClr val="000000">
                <a:alpha val="25098"/>
              </a:srgbClr>
            </a:solidFill>
            <a:ln w="2418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348" name="Frihandsfigur: Form 347">
              <a:extLst>
                <a:ext uri="{FF2B5EF4-FFF2-40B4-BE49-F238E27FC236}">
                  <a16:creationId xmlns:a16="http://schemas.microsoft.com/office/drawing/2014/main" id="{240652C6-8768-934B-B6F4-3E45CC6493BE}"/>
                </a:ext>
              </a:extLst>
            </p:cNvPr>
            <p:cNvSpPr/>
            <p:nvPr/>
          </p:nvSpPr>
          <p:spPr>
            <a:xfrm>
              <a:off x="1970256" y="3341864"/>
              <a:ext cx="108035" cy="227691"/>
            </a:xfrm>
            <a:custGeom>
              <a:avLst/>
              <a:gdLst>
                <a:gd name="connsiteX0" fmla="*/ 57675 w 112918"/>
                <a:gd name="connsiteY0" fmla="*/ 237981 h 237981"/>
                <a:gd name="connsiteX1" fmla="*/ 0 w 112918"/>
                <a:gd name="connsiteY1" fmla="*/ 180307 h 237981"/>
                <a:gd name="connsiteX2" fmla="*/ 0 w 112918"/>
                <a:gd name="connsiteY2" fmla="*/ 57675 h 237981"/>
                <a:gd name="connsiteX3" fmla="*/ 57675 w 112918"/>
                <a:gd name="connsiteY3" fmla="*/ 0 h 237981"/>
                <a:gd name="connsiteX4" fmla="*/ 112918 w 112918"/>
                <a:gd name="connsiteY4" fmla="*/ 57675 h 237981"/>
                <a:gd name="connsiteX5" fmla="*/ 112918 w 112918"/>
                <a:gd name="connsiteY5" fmla="*/ 180309 h 237981"/>
                <a:gd name="connsiteX6" fmla="*/ 57675 w 112918"/>
                <a:gd name="connsiteY6" fmla="*/ 237981 h 237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2918" h="237981">
                  <a:moveTo>
                    <a:pt x="57675" y="237981"/>
                  </a:moveTo>
                  <a:cubicBezTo>
                    <a:pt x="25821" y="237981"/>
                    <a:pt x="0" y="212161"/>
                    <a:pt x="0" y="180307"/>
                  </a:cubicBezTo>
                  <a:lnTo>
                    <a:pt x="0" y="57675"/>
                  </a:lnTo>
                  <a:cubicBezTo>
                    <a:pt x="0" y="25821"/>
                    <a:pt x="25821" y="0"/>
                    <a:pt x="57675" y="0"/>
                  </a:cubicBezTo>
                  <a:cubicBezTo>
                    <a:pt x="89529" y="0"/>
                    <a:pt x="112918" y="25821"/>
                    <a:pt x="112918" y="57675"/>
                  </a:cubicBezTo>
                  <a:lnTo>
                    <a:pt x="112918" y="180309"/>
                  </a:lnTo>
                  <a:cubicBezTo>
                    <a:pt x="112918" y="212161"/>
                    <a:pt x="89529" y="237981"/>
                    <a:pt x="57675" y="237981"/>
                  </a:cubicBezTo>
                  <a:close/>
                </a:path>
              </a:pathLst>
            </a:custGeom>
            <a:solidFill>
              <a:schemeClr val="accent1"/>
            </a:solidFill>
            <a:ln w="2418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349" name="Frihandsfigur: Form 348">
              <a:extLst>
                <a:ext uri="{FF2B5EF4-FFF2-40B4-BE49-F238E27FC236}">
                  <a16:creationId xmlns:a16="http://schemas.microsoft.com/office/drawing/2014/main" id="{4ACFD620-FC47-357E-FD2B-F78ED93EE525}"/>
                </a:ext>
              </a:extLst>
            </p:cNvPr>
            <p:cNvSpPr/>
            <p:nvPr/>
          </p:nvSpPr>
          <p:spPr>
            <a:xfrm>
              <a:off x="1624613" y="3341864"/>
              <a:ext cx="108035" cy="227691"/>
            </a:xfrm>
            <a:custGeom>
              <a:avLst/>
              <a:gdLst>
                <a:gd name="connsiteX0" fmla="*/ 57675 w 112918"/>
                <a:gd name="connsiteY0" fmla="*/ 237981 h 237981"/>
                <a:gd name="connsiteX1" fmla="*/ 0 w 112918"/>
                <a:gd name="connsiteY1" fmla="*/ 180307 h 237981"/>
                <a:gd name="connsiteX2" fmla="*/ 0 w 112918"/>
                <a:gd name="connsiteY2" fmla="*/ 57675 h 237981"/>
                <a:gd name="connsiteX3" fmla="*/ 57675 w 112918"/>
                <a:gd name="connsiteY3" fmla="*/ 0 h 237981"/>
                <a:gd name="connsiteX4" fmla="*/ 112918 w 112918"/>
                <a:gd name="connsiteY4" fmla="*/ 57675 h 237981"/>
                <a:gd name="connsiteX5" fmla="*/ 112918 w 112918"/>
                <a:gd name="connsiteY5" fmla="*/ 180309 h 237981"/>
                <a:gd name="connsiteX6" fmla="*/ 57675 w 112918"/>
                <a:gd name="connsiteY6" fmla="*/ 237981 h 237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2918" h="237981">
                  <a:moveTo>
                    <a:pt x="57675" y="237981"/>
                  </a:moveTo>
                  <a:cubicBezTo>
                    <a:pt x="25821" y="237981"/>
                    <a:pt x="0" y="212161"/>
                    <a:pt x="0" y="180307"/>
                  </a:cubicBezTo>
                  <a:lnTo>
                    <a:pt x="0" y="57675"/>
                  </a:lnTo>
                  <a:cubicBezTo>
                    <a:pt x="0" y="25821"/>
                    <a:pt x="25823" y="0"/>
                    <a:pt x="57675" y="0"/>
                  </a:cubicBezTo>
                  <a:cubicBezTo>
                    <a:pt x="89529" y="0"/>
                    <a:pt x="112918" y="25821"/>
                    <a:pt x="112918" y="57675"/>
                  </a:cubicBezTo>
                  <a:lnTo>
                    <a:pt x="112918" y="180309"/>
                  </a:lnTo>
                  <a:cubicBezTo>
                    <a:pt x="112918" y="212161"/>
                    <a:pt x="89529" y="237981"/>
                    <a:pt x="57675" y="237981"/>
                  </a:cubicBezTo>
                  <a:close/>
                </a:path>
              </a:pathLst>
            </a:custGeom>
            <a:solidFill>
              <a:schemeClr val="accent1"/>
            </a:solidFill>
            <a:ln w="2418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350" name="Frihandsfigur: Form 349">
              <a:extLst>
                <a:ext uri="{FF2B5EF4-FFF2-40B4-BE49-F238E27FC236}">
                  <a16:creationId xmlns:a16="http://schemas.microsoft.com/office/drawing/2014/main" id="{D4285A8F-9E06-7968-9291-6F014AB0C0EC}"/>
                </a:ext>
              </a:extLst>
            </p:cNvPr>
            <p:cNvSpPr/>
            <p:nvPr/>
          </p:nvSpPr>
          <p:spPr>
            <a:xfrm>
              <a:off x="2315900" y="3341864"/>
              <a:ext cx="108035" cy="227691"/>
            </a:xfrm>
            <a:custGeom>
              <a:avLst/>
              <a:gdLst>
                <a:gd name="connsiteX0" fmla="*/ 57675 w 112918"/>
                <a:gd name="connsiteY0" fmla="*/ 237981 h 237981"/>
                <a:gd name="connsiteX1" fmla="*/ 0 w 112918"/>
                <a:gd name="connsiteY1" fmla="*/ 180307 h 237981"/>
                <a:gd name="connsiteX2" fmla="*/ 0 w 112918"/>
                <a:gd name="connsiteY2" fmla="*/ 57675 h 237981"/>
                <a:gd name="connsiteX3" fmla="*/ 57675 w 112918"/>
                <a:gd name="connsiteY3" fmla="*/ 0 h 237981"/>
                <a:gd name="connsiteX4" fmla="*/ 112918 w 112918"/>
                <a:gd name="connsiteY4" fmla="*/ 57675 h 237981"/>
                <a:gd name="connsiteX5" fmla="*/ 112918 w 112918"/>
                <a:gd name="connsiteY5" fmla="*/ 180309 h 237981"/>
                <a:gd name="connsiteX6" fmla="*/ 57675 w 112918"/>
                <a:gd name="connsiteY6" fmla="*/ 237981 h 237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2918" h="237981">
                  <a:moveTo>
                    <a:pt x="57675" y="237981"/>
                  </a:moveTo>
                  <a:cubicBezTo>
                    <a:pt x="25821" y="237981"/>
                    <a:pt x="0" y="212161"/>
                    <a:pt x="0" y="180307"/>
                  </a:cubicBezTo>
                  <a:lnTo>
                    <a:pt x="0" y="57675"/>
                  </a:lnTo>
                  <a:cubicBezTo>
                    <a:pt x="0" y="25823"/>
                    <a:pt x="25821" y="0"/>
                    <a:pt x="57675" y="0"/>
                  </a:cubicBezTo>
                  <a:cubicBezTo>
                    <a:pt x="89526" y="0"/>
                    <a:pt x="112918" y="25821"/>
                    <a:pt x="112918" y="57675"/>
                  </a:cubicBezTo>
                  <a:lnTo>
                    <a:pt x="112918" y="180309"/>
                  </a:lnTo>
                  <a:cubicBezTo>
                    <a:pt x="112918" y="212161"/>
                    <a:pt x="89526" y="237981"/>
                    <a:pt x="57675" y="237981"/>
                  </a:cubicBezTo>
                  <a:close/>
                </a:path>
              </a:pathLst>
            </a:custGeom>
            <a:solidFill>
              <a:schemeClr val="accent1"/>
            </a:solidFill>
            <a:ln w="2418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351" name="Frihandsfigur: Form 350">
              <a:extLst>
                <a:ext uri="{FF2B5EF4-FFF2-40B4-BE49-F238E27FC236}">
                  <a16:creationId xmlns:a16="http://schemas.microsoft.com/office/drawing/2014/main" id="{78131AFE-C306-6D51-6717-DA29B3870897}"/>
                </a:ext>
              </a:extLst>
            </p:cNvPr>
            <p:cNvSpPr/>
            <p:nvPr/>
          </p:nvSpPr>
          <p:spPr>
            <a:xfrm>
              <a:off x="2351312" y="3341864"/>
              <a:ext cx="74950" cy="227694"/>
            </a:xfrm>
            <a:custGeom>
              <a:avLst/>
              <a:gdLst>
                <a:gd name="connsiteX0" fmla="*/ 20662 w 78336"/>
                <a:gd name="connsiteY0" fmla="*/ 0 h 237983"/>
                <a:gd name="connsiteX1" fmla="*/ 0 w 78336"/>
                <a:gd name="connsiteY1" fmla="*/ 3829 h 237983"/>
                <a:gd name="connsiteX2" fmla="*/ 37012 w 78336"/>
                <a:gd name="connsiteY2" fmla="*/ 57675 h 237983"/>
                <a:gd name="connsiteX3" fmla="*/ 37012 w 78336"/>
                <a:gd name="connsiteY3" fmla="*/ 180309 h 237983"/>
                <a:gd name="connsiteX4" fmla="*/ 0 w 78336"/>
                <a:gd name="connsiteY4" fmla="*/ 234155 h 237983"/>
                <a:gd name="connsiteX5" fmla="*/ 20662 w 78336"/>
                <a:gd name="connsiteY5" fmla="*/ 237984 h 237983"/>
                <a:gd name="connsiteX6" fmla="*/ 78337 w 78336"/>
                <a:gd name="connsiteY6" fmla="*/ 180309 h 237983"/>
                <a:gd name="connsiteX7" fmla="*/ 78337 w 78336"/>
                <a:gd name="connsiteY7" fmla="*/ 57675 h 237983"/>
                <a:gd name="connsiteX8" fmla="*/ 20662 w 78336"/>
                <a:gd name="connsiteY8" fmla="*/ 0 h 237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336" h="237983">
                  <a:moveTo>
                    <a:pt x="20662" y="0"/>
                  </a:moveTo>
                  <a:cubicBezTo>
                    <a:pt x="13379" y="0"/>
                    <a:pt x="6415" y="1364"/>
                    <a:pt x="0" y="3829"/>
                  </a:cubicBezTo>
                  <a:cubicBezTo>
                    <a:pt x="21642" y="12140"/>
                    <a:pt x="37012" y="33106"/>
                    <a:pt x="37012" y="57675"/>
                  </a:cubicBezTo>
                  <a:lnTo>
                    <a:pt x="37012" y="180309"/>
                  </a:lnTo>
                  <a:cubicBezTo>
                    <a:pt x="37012" y="204878"/>
                    <a:pt x="21644" y="225844"/>
                    <a:pt x="0" y="234155"/>
                  </a:cubicBezTo>
                  <a:cubicBezTo>
                    <a:pt x="6415" y="236620"/>
                    <a:pt x="13379" y="237984"/>
                    <a:pt x="20662" y="237984"/>
                  </a:cubicBezTo>
                  <a:cubicBezTo>
                    <a:pt x="52514" y="237984"/>
                    <a:pt x="78337" y="212163"/>
                    <a:pt x="78337" y="180309"/>
                  </a:cubicBezTo>
                  <a:lnTo>
                    <a:pt x="78337" y="57675"/>
                  </a:lnTo>
                  <a:cubicBezTo>
                    <a:pt x="78337" y="25821"/>
                    <a:pt x="52514" y="0"/>
                    <a:pt x="20662" y="0"/>
                  </a:cubicBezTo>
                  <a:close/>
                </a:path>
              </a:pathLst>
            </a:custGeom>
            <a:solidFill>
              <a:srgbClr val="000000">
                <a:alpha val="25098"/>
              </a:srgbClr>
            </a:solidFill>
            <a:ln w="2418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352" name="Frihandsfigur: Form 351">
              <a:extLst>
                <a:ext uri="{FF2B5EF4-FFF2-40B4-BE49-F238E27FC236}">
                  <a16:creationId xmlns:a16="http://schemas.microsoft.com/office/drawing/2014/main" id="{99D643B5-40F3-D0C0-CA0A-6D99D44608A2}"/>
                </a:ext>
              </a:extLst>
            </p:cNvPr>
            <p:cNvSpPr/>
            <p:nvPr/>
          </p:nvSpPr>
          <p:spPr>
            <a:xfrm>
              <a:off x="2005669" y="3341864"/>
              <a:ext cx="74950" cy="227694"/>
            </a:xfrm>
            <a:custGeom>
              <a:avLst/>
              <a:gdLst>
                <a:gd name="connsiteX0" fmla="*/ 20662 w 78336"/>
                <a:gd name="connsiteY0" fmla="*/ 0 h 237983"/>
                <a:gd name="connsiteX1" fmla="*/ 0 w 78336"/>
                <a:gd name="connsiteY1" fmla="*/ 3829 h 237983"/>
                <a:gd name="connsiteX2" fmla="*/ 37012 w 78336"/>
                <a:gd name="connsiteY2" fmla="*/ 57675 h 237983"/>
                <a:gd name="connsiteX3" fmla="*/ 37012 w 78336"/>
                <a:gd name="connsiteY3" fmla="*/ 180309 h 237983"/>
                <a:gd name="connsiteX4" fmla="*/ 0 w 78336"/>
                <a:gd name="connsiteY4" fmla="*/ 234155 h 237983"/>
                <a:gd name="connsiteX5" fmla="*/ 20662 w 78336"/>
                <a:gd name="connsiteY5" fmla="*/ 237984 h 237983"/>
                <a:gd name="connsiteX6" fmla="*/ 78337 w 78336"/>
                <a:gd name="connsiteY6" fmla="*/ 180309 h 237983"/>
                <a:gd name="connsiteX7" fmla="*/ 78337 w 78336"/>
                <a:gd name="connsiteY7" fmla="*/ 57675 h 237983"/>
                <a:gd name="connsiteX8" fmla="*/ 20662 w 78336"/>
                <a:gd name="connsiteY8" fmla="*/ 0 h 237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336" h="237983">
                  <a:moveTo>
                    <a:pt x="20662" y="0"/>
                  </a:moveTo>
                  <a:cubicBezTo>
                    <a:pt x="13377" y="0"/>
                    <a:pt x="6415" y="1364"/>
                    <a:pt x="0" y="3829"/>
                  </a:cubicBezTo>
                  <a:cubicBezTo>
                    <a:pt x="21642" y="12140"/>
                    <a:pt x="37012" y="33106"/>
                    <a:pt x="37012" y="57675"/>
                  </a:cubicBezTo>
                  <a:lnTo>
                    <a:pt x="37012" y="180309"/>
                  </a:lnTo>
                  <a:cubicBezTo>
                    <a:pt x="37012" y="204878"/>
                    <a:pt x="21644" y="225844"/>
                    <a:pt x="0" y="234155"/>
                  </a:cubicBezTo>
                  <a:cubicBezTo>
                    <a:pt x="6415" y="236620"/>
                    <a:pt x="13377" y="237984"/>
                    <a:pt x="20662" y="237984"/>
                  </a:cubicBezTo>
                  <a:cubicBezTo>
                    <a:pt x="52514" y="237984"/>
                    <a:pt x="78337" y="212163"/>
                    <a:pt x="78337" y="180309"/>
                  </a:cubicBezTo>
                  <a:lnTo>
                    <a:pt x="78337" y="57675"/>
                  </a:lnTo>
                  <a:cubicBezTo>
                    <a:pt x="78337" y="25821"/>
                    <a:pt x="52514" y="0"/>
                    <a:pt x="20662" y="0"/>
                  </a:cubicBezTo>
                  <a:close/>
                </a:path>
              </a:pathLst>
            </a:custGeom>
            <a:solidFill>
              <a:srgbClr val="000000">
                <a:alpha val="25098"/>
              </a:srgbClr>
            </a:solidFill>
            <a:ln w="2418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353" name="Frihandsfigur: Form 352">
              <a:extLst>
                <a:ext uri="{FF2B5EF4-FFF2-40B4-BE49-F238E27FC236}">
                  <a16:creationId xmlns:a16="http://schemas.microsoft.com/office/drawing/2014/main" id="{8FCA88F4-B1FF-F811-7B59-7C8BD54E116A}"/>
                </a:ext>
              </a:extLst>
            </p:cNvPr>
            <p:cNvSpPr/>
            <p:nvPr/>
          </p:nvSpPr>
          <p:spPr>
            <a:xfrm>
              <a:off x="1660028" y="3341864"/>
              <a:ext cx="74950" cy="227694"/>
            </a:xfrm>
            <a:custGeom>
              <a:avLst/>
              <a:gdLst>
                <a:gd name="connsiteX0" fmla="*/ 20662 w 78336"/>
                <a:gd name="connsiteY0" fmla="*/ 0 h 237983"/>
                <a:gd name="connsiteX1" fmla="*/ 0 w 78336"/>
                <a:gd name="connsiteY1" fmla="*/ 3829 h 237983"/>
                <a:gd name="connsiteX2" fmla="*/ 37012 w 78336"/>
                <a:gd name="connsiteY2" fmla="*/ 57675 h 237983"/>
                <a:gd name="connsiteX3" fmla="*/ 37012 w 78336"/>
                <a:gd name="connsiteY3" fmla="*/ 180309 h 237983"/>
                <a:gd name="connsiteX4" fmla="*/ 0 w 78336"/>
                <a:gd name="connsiteY4" fmla="*/ 234155 h 237983"/>
                <a:gd name="connsiteX5" fmla="*/ 20662 w 78336"/>
                <a:gd name="connsiteY5" fmla="*/ 237984 h 237983"/>
                <a:gd name="connsiteX6" fmla="*/ 78337 w 78336"/>
                <a:gd name="connsiteY6" fmla="*/ 180309 h 237983"/>
                <a:gd name="connsiteX7" fmla="*/ 78337 w 78336"/>
                <a:gd name="connsiteY7" fmla="*/ 57675 h 237983"/>
                <a:gd name="connsiteX8" fmla="*/ 20662 w 78336"/>
                <a:gd name="connsiteY8" fmla="*/ 0 h 237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336" h="237983">
                  <a:moveTo>
                    <a:pt x="20662" y="0"/>
                  </a:moveTo>
                  <a:cubicBezTo>
                    <a:pt x="13377" y="0"/>
                    <a:pt x="6415" y="1364"/>
                    <a:pt x="0" y="3829"/>
                  </a:cubicBezTo>
                  <a:cubicBezTo>
                    <a:pt x="21642" y="12140"/>
                    <a:pt x="37012" y="33106"/>
                    <a:pt x="37012" y="57675"/>
                  </a:cubicBezTo>
                  <a:lnTo>
                    <a:pt x="37012" y="180309"/>
                  </a:lnTo>
                  <a:cubicBezTo>
                    <a:pt x="37012" y="204878"/>
                    <a:pt x="21642" y="225844"/>
                    <a:pt x="0" y="234155"/>
                  </a:cubicBezTo>
                  <a:cubicBezTo>
                    <a:pt x="6415" y="236620"/>
                    <a:pt x="13377" y="237984"/>
                    <a:pt x="20662" y="237984"/>
                  </a:cubicBezTo>
                  <a:cubicBezTo>
                    <a:pt x="52514" y="237984"/>
                    <a:pt x="78337" y="212163"/>
                    <a:pt x="78337" y="180309"/>
                  </a:cubicBezTo>
                  <a:lnTo>
                    <a:pt x="78337" y="57675"/>
                  </a:lnTo>
                  <a:cubicBezTo>
                    <a:pt x="78334" y="25821"/>
                    <a:pt x="52514" y="0"/>
                    <a:pt x="20662" y="0"/>
                  </a:cubicBezTo>
                  <a:close/>
                </a:path>
              </a:pathLst>
            </a:custGeom>
            <a:solidFill>
              <a:srgbClr val="000000">
                <a:alpha val="25098"/>
              </a:srgbClr>
            </a:solidFill>
            <a:ln w="2418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354" name="Frihandsfigur: Form 353">
              <a:extLst>
                <a:ext uri="{FF2B5EF4-FFF2-40B4-BE49-F238E27FC236}">
                  <a16:creationId xmlns:a16="http://schemas.microsoft.com/office/drawing/2014/main" id="{9E531177-F668-3AAB-F926-B4DA4E229512}"/>
                </a:ext>
              </a:extLst>
            </p:cNvPr>
            <p:cNvSpPr/>
            <p:nvPr/>
          </p:nvSpPr>
          <p:spPr>
            <a:xfrm>
              <a:off x="1577147" y="4156897"/>
              <a:ext cx="213122" cy="213121"/>
            </a:xfrm>
            <a:custGeom>
              <a:avLst/>
              <a:gdLst>
                <a:gd name="connsiteX0" fmla="*/ 209946 w 222751"/>
                <a:gd name="connsiteY0" fmla="*/ 222752 h 222751"/>
                <a:gd name="connsiteX1" fmla="*/ 12806 w 222751"/>
                <a:gd name="connsiteY1" fmla="*/ 222752 h 222751"/>
                <a:gd name="connsiteX2" fmla="*/ 0 w 222751"/>
                <a:gd name="connsiteY2" fmla="*/ 209946 h 222751"/>
                <a:gd name="connsiteX3" fmla="*/ 0 w 222751"/>
                <a:gd name="connsiteY3" fmla="*/ 12806 h 222751"/>
                <a:gd name="connsiteX4" fmla="*/ 12806 w 222751"/>
                <a:gd name="connsiteY4" fmla="*/ 0 h 222751"/>
                <a:gd name="connsiteX5" fmla="*/ 209946 w 222751"/>
                <a:gd name="connsiteY5" fmla="*/ 0 h 222751"/>
                <a:gd name="connsiteX6" fmla="*/ 222752 w 222751"/>
                <a:gd name="connsiteY6" fmla="*/ 12806 h 222751"/>
                <a:gd name="connsiteX7" fmla="*/ 222752 w 222751"/>
                <a:gd name="connsiteY7" fmla="*/ 209946 h 222751"/>
                <a:gd name="connsiteX8" fmla="*/ 209946 w 222751"/>
                <a:gd name="connsiteY8" fmla="*/ 222752 h 222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2750" h="222750">
                  <a:moveTo>
                    <a:pt x="209946" y="222752"/>
                  </a:moveTo>
                  <a:lnTo>
                    <a:pt x="12806" y="222752"/>
                  </a:lnTo>
                  <a:cubicBezTo>
                    <a:pt x="5732" y="222752"/>
                    <a:pt x="0" y="217017"/>
                    <a:pt x="0" y="209946"/>
                  </a:cubicBezTo>
                  <a:lnTo>
                    <a:pt x="0" y="12806"/>
                  </a:lnTo>
                  <a:cubicBezTo>
                    <a:pt x="0" y="5732"/>
                    <a:pt x="5734" y="0"/>
                    <a:pt x="12806" y="0"/>
                  </a:cubicBezTo>
                  <a:lnTo>
                    <a:pt x="209946" y="0"/>
                  </a:lnTo>
                  <a:cubicBezTo>
                    <a:pt x="217020" y="0"/>
                    <a:pt x="222752" y="5734"/>
                    <a:pt x="222752" y="12806"/>
                  </a:cubicBezTo>
                  <a:lnTo>
                    <a:pt x="222752" y="209946"/>
                  </a:lnTo>
                  <a:cubicBezTo>
                    <a:pt x="222752" y="217020"/>
                    <a:pt x="217020" y="222752"/>
                    <a:pt x="209946" y="222752"/>
                  </a:cubicBezTo>
                  <a:close/>
                </a:path>
              </a:pathLst>
            </a:custGeom>
            <a:solidFill>
              <a:srgbClr val="F8F8F8"/>
            </a:solidFill>
            <a:ln w="2418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355" name="Frihandsfigur: Form 354">
              <a:extLst>
                <a:ext uri="{FF2B5EF4-FFF2-40B4-BE49-F238E27FC236}">
                  <a16:creationId xmlns:a16="http://schemas.microsoft.com/office/drawing/2014/main" id="{BF1782B5-AF89-72B1-41C6-D97CCDA87439}"/>
                </a:ext>
              </a:extLst>
            </p:cNvPr>
            <p:cNvSpPr/>
            <p:nvPr/>
          </p:nvSpPr>
          <p:spPr>
            <a:xfrm>
              <a:off x="1447036" y="3940384"/>
              <a:ext cx="894810" cy="574830"/>
            </a:xfrm>
            <a:custGeom>
              <a:avLst/>
              <a:gdLst>
                <a:gd name="connsiteX0" fmla="*/ 917008 w 935239"/>
                <a:gd name="connsiteY0" fmla="*/ 564341 h 600803"/>
                <a:gd name="connsiteX1" fmla="*/ 79003 w 935239"/>
                <a:gd name="connsiteY1" fmla="*/ 564341 h 600803"/>
                <a:gd name="connsiteX2" fmla="*/ 36463 w 935239"/>
                <a:gd name="connsiteY2" fmla="*/ 521801 h 600803"/>
                <a:gd name="connsiteX3" fmla="*/ 36463 w 935239"/>
                <a:gd name="connsiteY3" fmla="*/ 18231 h 600803"/>
                <a:gd name="connsiteX4" fmla="*/ 18231 w 935239"/>
                <a:gd name="connsiteY4" fmla="*/ 0 h 600803"/>
                <a:gd name="connsiteX5" fmla="*/ 0 w 935239"/>
                <a:gd name="connsiteY5" fmla="*/ 18231 h 600803"/>
                <a:gd name="connsiteX6" fmla="*/ 0 w 935239"/>
                <a:gd name="connsiteY6" fmla="*/ 521801 h 600803"/>
                <a:gd name="connsiteX7" fmla="*/ 79003 w 935239"/>
                <a:gd name="connsiteY7" fmla="*/ 600804 h 600803"/>
                <a:gd name="connsiteX8" fmla="*/ 917008 w 935239"/>
                <a:gd name="connsiteY8" fmla="*/ 600804 h 600803"/>
                <a:gd name="connsiteX9" fmla="*/ 935239 w 935239"/>
                <a:gd name="connsiteY9" fmla="*/ 582573 h 600803"/>
                <a:gd name="connsiteX10" fmla="*/ 917008 w 935239"/>
                <a:gd name="connsiteY10" fmla="*/ 564341 h 600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35239" h="600803">
                  <a:moveTo>
                    <a:pt x="917008" y="564341"/>
                  </a:moveTo>
                  <a:lnTo>
                    <a:pt x="79003" y="564341"/>
                  </a:lnTo>
                  <a:cubicBezTo>
                    <a:pt x="55548" y="564341"/>
                    <a:pt x="36463" y="545256"/>
                    <a:pt x="36463" y="521801"/>
                  </a:cubicBezTo>
                  <a:lnTo>
                    <a:pt x="36463" y="18231"/>
                  </a:lnTo>
                  <a:cubicBezTo>
                    <a:pt x="36463" y="8160"/>
                    <a:pt x="28302" y="0"/>
                    <a:pt x="18231" y="0"/>
                  </a:cubicBezTo>
                  <a:cubicBezTo>
                    <a:pt x="8160" y="0"/>
                    <a:pt x="0" y="8160"/>
                    <a:pt x="0" y="18231"/>
                  </a:cubicBezTo>
                  <a:lnTo>
                    <a:pt x="0" y="521801"/>
                  </a:lnTo>
                  <a:cubicBezTo>
                    <a:pt x="0" y="565364"/>
                    <a:pt x="35439" y="600804"/>
                    <a:pt x="79003" y="600804"/>
                  </a:cubicBezTo>
                  <a:lnTo>
                    <a:pt x="917008" y="600804"/>
                  </a:lnTo>
                  <a:cubicBezTo>
                    <a:pt x="927079" y="600804"/>
                    <a:pt x="935239" y="592644"/>
                    <a:pt x="935239" y="582573"/>
                  </a:cubicBezTo>
                  <a:cubicBezTo>
                    <a:pt x="935239" y="572501"/>
                    <a:pt x="927076" y="564341"/>
                    <a:pt x="917008" y="564341"/>
                  </a:cubicBezTo>
                  <a:close/>
                </a:path>
              </a:pathLst>
            </a:custGeom>
            <a:solidFill>
              <a:srgbClr val="000000"/>
            </a:solidFill>
            <a:ln w="2418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356" name="Frihandsfigur: Form 355">
              <a:extLst>
                <a:ext uri="{FF2B5EF4-FFF2-40B4-BE49-F238E27FC236}">
                  <a16:creationId xmlns:a16="http://schemas.microsoft.com/office/drawing/2014/main" id="{8994E7DD-9E76-BD3E-4A24-C9CE1D79D180}"/>
                </a:ext>
              </a:extLst>
            </p:cNvPr>
            <p:cNvSpPr/>
            <p:nvPr/>
          </p:nvSpPr>
          <p:spPr>
            <a:xfrm>
              <a:off x="2260607" y="3837226"/>
              <a:ext cx="213122" cy="213121"/>
            </a:xfrm>
            <a:custGeom>
              <a:avLst/>
              <a:gdLst>
                <a:gd name="connsiteX0" fmla="*/ 209946 w 222751"/>
                <a:gd name="connsiteY0" fmla="*/ 222752 h 222751"/>
                <a:gd name="connsiteX1" fmla="*/ 12806 w 222751"/>
                <a:gd name="connsiteY1" fmla="*/ 222752 h 222751"/>
                <a:gd name="connsiteX2" fmla="*/ 0 w 222751"/>
                <a:gd name="connsiteY2" fmla="*/ 209946 h 222751"/>
                <a:gd name="connsiteX3" fmla="*/ 0 w 222751"/>
                <a:gd name="connsiteY3" fmla="*/ 12806 h 222751"/>
                <a:gd name="connsiteX4" fmla="*/ 12806 w 222751"/>
                <a:gd name="connsiteY4" fmla="*/ 0 h 222751"/>
                <a:gd name="connsiteX5" fmla="*/ 209946 w 222751"/>
                <a:gd name="connsiteY5" fmla="*/ 0 h 222751"/>
                <a:gd name="connsiteX6" fmla="*/ 222752 w 222751"/>
                <a:gd name="connsiteY6" fmla="*/ 12806 h 222751"/>
                <a:gd name="connsiteX7" fmla="*/ 222752 w 222751"/>
                <a:gd name="connsiteY7" fmla="*/ 209946 h 222751"/>
                <a:gd name="connsiteX8" fmla="*/ 209946 w 222751"/>
                <a:gd name="connsiteY8" fmla="*/ 222752 h 222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2750" h="222750">
                  <a:moveTo>
                    <a:pt x="209946" y="222752"/>
                  </a:moveTo>
                  <a:lnTo>
                    <a:pt x="12806" y="222752"/>
                  </a:lnTo>
                  <a:cubicBezTo>
                    <a:pt x="5732" y="222752"/>
                    <a:pt x="0" y="217017"/>
                    <a:pt x="0" y="209946"/>
                  </a:cubicBezTo>
                  <a:lnTo>
                    <a:pt x="0" y="12806"/>
                  </a:lnTo>
                  <a:cubicBezTo>
                    <a:pt x="0" y="5732"/>
                    <a:pt x="5734" y="0"/>
                    <a:pt x="12806" y="0"/>
                  </a:cubicBezTo>
                  <a:lnTo>
                    <a:pt x="209946" y="0"/>
                  </a:lnTo>
                  <a:cubicBezTo>
                    <a:pt x="217020" y="0"/>
                    <a:pt x="222752" y="5734"/>
                    <a:pt x="222752" y="12806"/>
                  </a:cubicBezTo>
                  <a:lnTo>
                    <a:pt x="222752" y="209946"/>
                  </a:lnTo>
                  <a:cubicBezTo>
                    <a:pt x="222752" y="217017"/>
                    <a:pt x="217020" y="222752"/>
                    <a:pt x="209946" y="222752"/>
                  </a:cubicBezTo>
                  <a:close/>
                </a:path>
              </a:pathLst>
            </a:custGeom>
            <a:solidFill>
              <a:srgbClr val="F8F8F8"/>
            </a:solidFill>
            <a:ln w="2418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357" name="Frihandsfigur: Form 356">
              <a:extLst>
                <a:ext uri="{FF2B5EF4-FFF2-40B4-BE49-F238E27FC236}">
                  <a16:creationId xmlns:a16="http://schemas.microsoft.com/office/drawing/2014/main" id="{9B0B02DB-CF1D-DB35-3BD6-06E5AB390D20}"/>
                </a:ext>
              </a:extLst>
            </p:cNvPr>
            <p:cNvSpPr/>
            <p:nvPr/>
          </p:nvSpPr>
          <p:spPr>
            <a:xfrm>
              <a:off x="2243163" y="3819782"/>
              <a:ext cx="248009" cy="248011"/>
            </a:xfrm>
            <a:custGeom>
              <a:avLst/>
              <a:gdLst>
                <a:gd name="connsiteX0" fmla="*/ 31037 w 259214"/>
                <a:gd name="connsiteY0" fmla="*/ 259217 h 259217"/>
                <a:gd name="connsiteX1" fmla="*/ 228177 w 259214"/>
                <a:gd name="connsiteY1" fmla="*/ 259217 h 259217"/>
                <a:gd name="connsiteX2" fmla="*/ 259215 w 259214"/>
                <a:gd name="connsiteY2" fmla="*/ 228180 h 259217"/>
                <a:gd name="connsiteX3" fmla="*/ 259215 w 259214"/>
                <a:gd name="connsiteY3" fmla="*/ 31040 h 259217"/>
                <a:gd name="connsiteX4" fmla="*/ 228177 w 259214"/>
                <a:gd name="connsiteY4" fmla="*/ 0 h 259217"/>
                <a:gd name="connsiteX5" fmla="*/ 31037 w 259214"/>
                <a:gd name="connsiteY5" fmla="*/ 0 h 259217"/>
                <a:gd name="connsiteX6" fmla="*/ 0 w 259214"/>
                <a:gd name="connsiteY6" fmla="*/ 31040 h 259217"/>
                <a:gd name="connsiteX7" fmla="*/ 0 w 259214"/>
                <a:gd name="connsiteY7" fmla="*/ 228180 h 259217"/>
                <a:gd name="connsiteX8" fmla="*/ 31037 w 259214"/>
                <a:gd name="connsiteY8" fmla="*/ 259217 h 259217"/>
                <a:gd name="connsiteX9" fmla="*/ 36460 w 259214"/>
                <a:gd name="connsiteY9" fmla="*/ 36463 h 259217"/>
                <a:gd name="connsiteX10" fmla="*/ 222752 w 259214"/>
                <a:gd name="connsiteY10" fmla="*/ 36463 h 259217"/>
                <a:gd name="connsiteX11" fmla="*/ 222752 w 259214"/>
                <a:gd name="connsiteY11" fmla="*/ 222754 h 259217"/>
                <a:gd name="connsiteX12" fmla="*/ 36460 w 259214"/>
                <a:gd name="connsiteY12" fmla="*/ 222754 h 259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9214" h="259217">
                  <a:moveTo>
                    <a:pt x="31037" y="259217"/>
                  </a:moveTo>
                  <a:lnTo>
                    <a:pt x="228177" y="259217"/>
                  </a:lnTo>
                  <a:cubicBezTo>
                    <a:pt x="245293" y="259217"/>
                    <a:pt x="259215" y="245296"/>
                    <a:pt x="259215" y="228180"/>
                  </a:cubicBezTo>
                  <a:lnTo>
                    <a:pt x="259215" y="31040"/>
                  </a:lnTo>
                  <a:cubicBezTo>
                    <a:pt x="259215" y="13924"/>
                    <a:pt x="245293" y="0"/>
                    <a:pt x="228177" y="0"/>
                  </a:cubicBezTo>
                  <a:lnTo>
                    <a:pt x="31037" y="0"/>
                  </a:lnTo>
                  <a:cubicBezTo>
                    <a:pt x="13922" y="0"/>
                    <a:pt x="0" y="13924"/>
                    <a:pt x="0" y="31040"/>
                  </a:cubicBezTo>
                  <a:lnTo>
                    <a:pt x="0" y="228180"/>
                  </a:lnTo>
                  <a:cubicBezTo>
                    <a:pt x="-2" y="245296"/>
                    <a:pt x="13922" y="259217"/>
                    <a:pt x="31037" y="259217"/>
                  </a:cubicBezTo>
                  <a:close/>
                  <a:moveTo>
                    <a:pt x="36460" y="36463"/>
                  </a:moveTo>
                  <a:lnTo>
                    <a:pt x="222752" y="36463"/>
                  </a:lnTo>
                  <a:lnTo>
                    <a:pt x="222752" y="222754"/>
                  </a:lnTo>
                  <a:lnTo>
                    <a:pt x="36460" y="222754"/>
                  </a:lnTo>
                  <a:close/>
                </a:path>
              </a:pathLst>
            </a:custGeom>
            <a:solidFill>
              <a:srgbClr val="000000"/>
            </a:solidFill>
            <a:ln w="2418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358" name="Frihandsfigur: Form 357">
              <a:extLst>
                <a:ext uri="{FF2B5EF4-FFF2-40B4-BE49-F238E27FC236}">
                  <a16:creationId xmlns:a16="http://schemas.microsoft.com/office/drawing/2014/main" id="{091B0281-EB54-2239-A9D2-3992125DC8AD}"/>
                </a:ext>
              </a:extLst>
            </p:cNvPr>
            <p:cNvSpPr/>
            <p:nvPr/>
          </p:nvSpPr>
          <p:spPr>
            <a:xfrm>
              <a:off x="1918874" y="4156897"/>
              <a:ext cx="213122" cy="213121"/>
            </a:xfrm>
            <a:custGeom>
              <a:avLst/>
              <a:gdLst>
                <a:gd name="connsiteX0" fmla="*/ 209946 w 222751"/>
                <a:gd name="connsiteY0" fmla="*/ 222752 h 222751"/>
                <a:gd name="connsiteX1" fmla="*/ 12806 w 222751"/>
                <a:gd name="connsiteY1" fmla="*/ 222752 h 222751"/>
                <a:gd name="connsiteX2" fmla="*/ 0 w 222751"/>
                <a:gd name="connsiteY2" fmla="*/ 209946 h 222751"/>
                <a:gd name="connsiteX3" fmla="*/ 0 w 222751"/>
                <a:gd name="connsiteY3" fmla="*/ 12806 h 222751"/>
                <a:gd name="connsiteX4" fmla="*/ 12806 w 222751"/>
                <a:gd name="connsiteY4" fmla="*/ 0 h 222751"/>
                <a:gd name="connsiteX5" fmla="*/ 209946 w 222751"/>
                <a:gd name="connsiteY5" fmla="*/ 0 h 222751"/>
                <a:gd name="connsiteX6" fmla="*/ 222752 w 222751"/>
                <a:gd name="connsiteY6" fmla="*/ 12806 h 222751"/>
                <a:gd name="connsiteX7" fmla="*/ 222752 w 222751"/>
                <a:gd name="connsiteY7" fmla="*/ 209946 h 222751"/>
                <a:gd name="connsiteX8" fmla="*/ 209946 w 222751"/>
                <a:gd name="connsiteY8" fmla="*/ 222752 h 222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2750" h="222750">
                  <a:moveTo>
                    <a:pt x="209946" y="222752"/>
                  </a:moveTo>
                  <a:lnTo>
                    <a:pt x="12806" y="222752"/>
                  </a:lnTo>
                  <a:cubicBezTo>
                    <a:pt x="5732" y="222752"/>
                    <a:pt x="0" y="217017"/>
                    <a:pt x="0" y="209946"/>
                  </a:cubicBezTo>
                  <a:lnTo>
                    <a:pt x="0" y="12806"/>
                  </a:lnTo>
                  <a:cubicBezTo>
                    <a:pt x="0" y="5732"/>
                    <a:pt x="5734" y="0"/>
                    <a:pt x="12806" y="0"/>
                  </a:cubicBezTo>
                  <a:lnTo>
                    <a:pt x="209946" y="0"/>
                  </a:lnTo>
                  <a:cubicBezTo>
                    <a:pt x="217020" y="0"/>
                    <a:pt x="222752" y="5734"/>
                    <a:pt x="222752" y="12806"/>
                  </a:cubicBezTo>
                  <a:lnTo>
                    <a:pt x="222752" y="209946"/>
                  </a:lnTo>
                  <a:cubicBezTo>
                    <a:pt x="222754" y="217020"/>
                    <a:pt x="217020" y="222752"/>
                    <a:pt x="209946" y="222752"/>
                  </a:cubicBezTo>
                  <a:close/>
                </a:path>
              </a:pathLst>
            </a:custGeom>
            <a:solidFill>
              <a:srgbClr val="F8F8F8"/>
            </a:solidFill>
            <a:ln w="2418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359" name="Frihandsfigur: Form 358">
              <a:extLst>
                <a:ext uri="{FF2B5EF4-FFF2-40B4-BE49-F238E27FC236}">
                  <a16:creationId xmlns:a16="http://schemas.microsoft.com/office/drawing/2014/main" id="{DDC3C6E5-3B76-51A9-DE34-66A1C310AEDE}"/>
                </a:ext>
              </a:extLst>
            </p:cNvPr>
            <p:cNvSpPr/>
            <p:nvPr/>
          </p:nvSpPr>
          <p:spPr>
            <a:xfrm>
              <a:off x="1901436" y="4139449"/>
              <a:ext cx="248013" cy="248011"/>
            </a:xfrm>
            <a:custGeom>
              <a:avLst/>
              <a:gdLst>
                <a:gd name="connsiteX0" fmla="*/ 0 w 259217"/>
                <a:gd name="connsiteY0" fmla="*/ 228180 h 259219"/>
                <a:gd name="connsiteX1" fmla="*/ 31037 w 259217"/>
                <a:gd name="connsiteY1" fmla="*/ 259220 h 259219"/>
                <a:gd name="connsiteX2" fmla="*/ 228180 w 259217"/>
                <a:gd name="connsiteY2" fmla="*/ 259220 h 259219"/>
                <a:gd name="connsiteX3" fmla="*/ 259217 w 259217"/>
                <a:gd name="connsiteY3" fmla="*/ 228180 h 259219"/>
                <a:gd name="connsiteX4" fmla="*/ 259217 w 259217"/>
                <a:gd name="connsiteY4" fmla="*/ 31040 h 259219"/>
                <a:gd name="connsiteX5" fmla="*/ 228180 w 259217"/>
                <a:gd name="connsiteY5" fmla="*/ 0 h 259219"/>
                <a:gd name="connsiteX6" fmla="*/ 31037 w 259217"/>
                <a:gd name="connsiteY6" fmla="*/ 0 h 259219"/>
                <a:gd name="connsiteX7" fmla="*/ 0 w 259217"/>
                <a:gd name="connsiteY7" fmla="*/ 31040 h 259219"/>
                <a:gd name="connsiteX8" fmla="*/ 36463 w 259217"/>
                <a:gd name="connsiteY8" fmla="*/ 36463 h 259219"/>
                <a:gd name="connsiteX9" fmla="*/ 222752 w 259217"/>
                <a:gd name="connsiteY9" fmla="*/ 36463 h 259219"/>
                <a:gd name="connsiteX10" fmla="*/ 222752 w 259217"/>
                <a:gd name="connsiteY10" fmla="*/ 222754 h 259219"/>
                <a:gd name="connsiteX11" fmla="*/ 36463 w 259217"/>
                <a:gd name="connsiteY11" fmla="*/ 222754 h 259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9217" h="259219">
                  <a:moveTo>
                    <a:pt x="0" y="228180"/>
                  </a:moveTo>
                  <a:cubicBezTo>
                    <a:pt x="0" y="245296"/>
                    <a:pt x="13924" y="259220"/>
                    <a:pt x="31037" y="259220"/>
                  </a:cubicBezTo>
                  <a:lnTo>
                    <a:pt x="228180" y="259220"/>
                  </a:lnTo>
                  <a:cubicBezTo>
                    <a:pt x="245293" y="259220"/>
                    <a:pt x="259217" y="245298"/>
                    <a:pt x="259217" y="228180"/>
                  </a:cubicBezTo>
                  <a:lnTo>
                    <a:pt x="259217" y="31040"/>
                  </a:lnTo>
                  <a:cubicBezTo>
                    <a:pt x="259217" y="13924"/>
                    <a:pt x="245293" y="0"/>
                    <a:pt x="228180" y="0"/>
                  </a:cubicBezTo>
                  <a:lnTo>
                    <a:pt x="31037" y="0"/>
                  </a:lnTo>
                  <a:cubicBezTo>
                    <a:pt x="13924" y="0"/>
                    <a:pt x="0" y="13924"/>
                    <a:pt x="0" y="31040"/>
                  </a:cubicBezTo>
                  <a:close/>
                  <a:moveTo>
                    <a:pt x="36463" y="36463"/>
                  </a:moveTo>
                  <a:lnTo>
                    <a:pt x="222752" y="36463"/>
                  </a:lnTo>
                  <a:lnTo>
                    <a:pt x="222752" y="222754"/>
                  </a:lnTo>
                  <a:lnTo>
                    <a:pt x="36463" y="222754"/>
                  </a:lnTo>
                  <a:close/>
                </a:path>
              </a:pathLst>
            </a:custGeom>
            <a:solidFill>
              <a:srgbClr val="000000"/>
            </a:solidFill>
            <a:ln w="2418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360" name="Frihandsfigur: Form 359">
              <a:extLst>
                <a:ext uri="{FF2B5EF4-FFF2-40B4-BE49-F238E27FC236}">
                  <a16:creationId xmlns:a16="http://schemas.microsoft.com/office/drawing/2014/main" id="{D0758D08-3CB5-A4DB-2213-608C96E351B9}"/>
                </a:ext>
              </a:extLst>
            </p:cNvPr>
            <p:cNvSpPr/>
            <p:nvPr/>
          </p:nvSpPr>
          <p:spPr>
            <a:xfrm>
              <a:off x="1559703" y="4139449"/>
              <a:ext cx="248013" cy="248011"/>
            </a:xfrm>
            <a:custGeom>
              <a:avLst/>
              <a:gdLst>
                <a:gd name="connsiteX0" fmla="*/ 0 w 259219"/>
                <a:gd name="connsiteY0" fmla="*/ 228180 h 259219"/>
                <a:gd name="connsiteX1" fmla="*/ 31040 w 259219"/>
                <a:gd name="connsiteY1" fmla="*/ 259220 h 259219"/>
                <a:gd name="connsiteX2" fmla="*/ 228180 w 259219"/>
                <a:gd name="connsiteY2" fmla="*/ 259220 h 259219"/>
                <a:gd name="connsiteX3" fmla="*/ 259220 w 259219"/>
                <a:gd name="connsiteY3" fmla="*/ 228180 h 259219"/>
                <a:gd name="connsiteX4" fmla="*/ 259220 w 259219"/>
                <a:gd name="connsiteY4" fmla="*/ 31040 h 259219"/>
                <a:gd name="connsiteX5" fmla="*/ 228180 w 259219"/>
                <a:gd name="connsiteY5" fmla="*/ 0 h 259219"/>
                <a:gd name="connsiteX6" fmla="*/ 31040 w 259219"/>
                <a:gd name="connsiteY6" fmla="*/ 0 h 259219"/>
                <a:gd name="connsiteX7" fmla="*/ 0 w 259219"/>
                <a:gd name="connsiteY7" fmla="*/ 31040 h 259219"/>
                <a:gd name="connsiteX8" fmla="*/ 36463 w 259219"/>
                <a:gd name="connsiteY8" fmla="*/ 36463 h 259219"/>
                <a:gd name="connsiteX9" fmla="*/ 222754 w 259219"/>
                <a:gd name="connsiteY9" fmla="*/ 36463 h 259219"/>
                <a:gd name="connsiteX10" fmla="*/ 222754 w 259219"/>
                <a:gd name="connsiteY10" fmla="*/ 222754 h 259219"/>
                <a:gd name="connsiteX11" fmla="*/ 36463 w 259219"/>
                <a:gd name="connsiteY11" fmla="*/ 222754 h 259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9219" h="259219">
                  <a:moveTo>
                    <a:pt x="0" y="228180"/>
                  </a:moveTo>
                  <a:cubicBezTo>
                    <a:pt x="0" y="245296"/>
                    <a:pt x="13924" y="259220"/>
                    <a:pt x="31040" y="259220"/>
                  </a:cubicBezTo>
                  <a:lnTo>
                    <a:pt x="228180" y="259220"/>
                  </a:lnTo>
                  <a:cubicBezTo>
                    <a:pt x="245296" y="259220"/>
                    <a:pt x="259220" y="245298"/>
                    <a:pt x="259220" y="228180"/>
                  </a:cubicBezTo>
                  <a:lnTo>
                    <a:pt x="259220" y="31040"/>
                  </a:lnTo>
                  <a:cubicBezTo>
                    <a:pt x="259220" y="13924"/>
                    <a:pt x="245296" y="0"/>
                    <a:pt x="228180" y="0"/>
                  </a:cubicBezTo>
                  <a:lnTo>
                    <a:pt x="31040" y="0"/>
                  </a:lnTo>
                  <a:cubicBezTo>
                    <a:pt x="13924" y="0"/>
                    <a:pt x="0" y="13924"/>
                    <a:pt x="0" y="31040"/>
                  </a:cubicBezTo>
                  <a:close/>
                  <a:moveTo>
                    <a:pt x="36463" y="36463"/>
                  </a:moveTo>
                  <a:lnTo>
                    <a:pt x="222754" y="36463"/>
                  </a:lnTo>
                  <a:lnTo>
                    <a:pt x="222754" y="222754"/>
                  </a:lnTo>
                  <a:lnTo>
                    <a:pt x="36463" y="222754"/>
                  </a:lnTo>
                  <a:close/>
                </a:path>
              </a:pathLst>
            </a:custGeom>
            <a:solidFill>
              <a:srgbClr val="000000"/>
            </a:solidFill>
            <a:ln w="2418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grpSp>
          <p:nvGrpSpPr>
            <p:cNvPr id="361" name="Grupp 360">
              <a:extLst>
                <a:ext uri="{FF2B5EF4-FFF2-40B4-BE49-F238E27FC236}">
                  <a16:creationId xmlns:a16="http://schemas.microsoft.com/office/drawing/2014/main" id="{22D62357-A852-4874-C438-31B38A45902B}"/>
                </a:ext>
              </a:extLst>
            </p:cNvPr>
            <p:cNvGrpSpPr/>
            <p:nvPr/>
          </p:nvGrpSpPr>
          <p:grpSpPr>
            <a:xfrm>
              <a:off x="1559703" y="3819782"/>
              <a:ext cx="248009" cy="248011"/>
              <a:chOff x="4085393" y="4395208"/>
              <a:chExt cx="330173" cy="330176"/>
            </a:xfrm>
          </p:grpSpPr>
          <p:sp>
            <p:nvSpPr>
              <p:cNvPr id="367" name="Frihandsfigur: Form 366">
                <a:extLst>
                  <a:ext uri="{FF2B5EF4-FFF2-40B4-BE49-F238E27FC236}">
                    <a16:creationId xmlns:a16="http://schemas.microsoft.com/office/drawing/2014/main" id="{030E9D97-40FD-72DA-6C09-28D5AD504EC3}"/>
                  </a:ext>
                </a:extLst>
              </p:cNvPr>
              <p:cNvSpPr/>
              <p:nvPr/>
            </p:nvSpPr>
            <p:spPr>
              <a:xfrm>
                <a:off x="4108616" y="4418436"/>
                <a:ext cx="283728" cy="283726"/>
              </a:xfrm>
              <a:custGeom>
                <a:avLst/>
                <a:gdLst>
                  <a:gd name="connsiteX0" fmla="*/ 209946 w 222751"/>
                  <a:gd name="connsiteY0" fmla="*/ 222752 h 222751"/>
                  <a:gd name="connsiteX1" fmla="*/ 12806 w 222751"/>
                  <a:gd name="connsiteY1" fmla="*/ 222752 h 222751"/>
                  <a:gd name="connsiteX2" fmla="*/ 0 w 222751"/>
                  <a:gd name="connsiteY2" fmla="*/ 209946 h 222751"/>
                  <a:gd name="connsiteX3" fmla="*/ 0 w 222751"/>
                  <a:gd name="connsiteY3" fmla="*/ 12806 h 222751"/>
                  <a:gd name="connsiteX4" fmla="*/ 12806 w 222751"/>
                  <a:gd name="connsiteY4" fmla="*/ 0 h 222751"/>
                  <a:gd name="connsiteX5" fmla="*/ 209946 w 222751"/>
                  <a:gd name="connsiteY5" fmla="*/ 0 h 222751"/>
                  <a:gd name="connsiteX6" fmla="*/ 222752 w 222751"/>
                  <a:gd name="connsiteY6" fmla="*/ 12806 h 222751"/>
                  <a:gd name="connsiteX7" fmla="*/ 222752 w 222751"/>
                  <a:gd name="connsiteY7" fmla="*/ 209946 h 222751"/>
                  <a:gd name="connsiteX8" fmla="*/ 209946 w 222751"/>
                  <a:gd name="connsiteY8" fmla="*/ 222752 h 222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2750" h="222750">
                    <a:moveTo>
                      <a:pt x="209946" y="222752"/>
                    </a:moveTo>
                    <a:lnTo>
                      <a:pt x="12806" y="222752"/>
                    </a:lnTo>
                    <a:cubicBezTo>
                      <a:pt x="5732" y="222752"/>
                      <a:pt x="0" y="217017"/>
                      <a:pt x="0" y="209946"/>
                    </a:cubicBezTo>
                    <a:lnTo>
                      <a:pt x="0" y="12806"/>
                    </a:lnTo>
                    <a:cubicBezTo>
                      <a:pt x="0" y="5732"/>
                      <a:pt x="5734" y="0"/>
                      <a:pt x="12806" y="0"/>
                    </a:cubicBezTo>
                    <a:lnTo>
                      <a:pt x="209946" y="0"/>
                    </a:lnTo>
                    <a:cubicBezTo>
                      <a:pt x="217020" y="0"/>
                      <a:pt x="222752" y="5734"/>
                      <a:pt x="222752" y="12806"/>
                    </a:cubicBezTo>
                    <a:lnTo>
                      <a:pt x="222752" y="209946"/>
                    </a:lnTo>
                    <a:cubicBezTo>
                      <a:pt x="222752" y="217020"/>
                      <a:pt x="217020" y="222752"/>
                      <a:pt x="209946" y="222752"/>
                    </a:cubicBezTo>
                    <a:close/>
                  </a:path>
                </a:pathLst>
              </a:custGeom>
              <a:solidFill>
                <a:srgbClr val="F8F8F8"/>
              </a:solidFill>
              <a:ln w="2418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sv-SE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514350" fontAlgn="auto">
                  <a:spcBef>
                    <a:spcPts val="0"/>
                  </a:spcBef>
                  <a:spcAft>
                    <a:spcPts val="0"/>
                  </a:spcAft>
                </a:pPr>
                <a:endParaRPr lang="sv-SE" sz="76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68" name="Frihandsfigur: Form 367">
                <a:extLst>
                  <a:ext uri="{FF2B5EF4-FFF2-40B4-BE49-F238E27FC236}">
                    <a16:creationId xmlns:a16="http://schemas.microsoft.com/office/drawing/2014/main" id="{8A027B18-961F-DDA8-D63A-E6700E32665E}"/>
                  </a:ext>
                </a:extLst>
              </p:cNvPr>
              <p:cNvSpPr/>
              <p:nvPr/>
            </p:nvSpPr>
            <p:spPr>
              <a:xfrm>
                <a:off x="4085393" y="4395208"/>
                <a:ext cx="330173" cy="330176"/>
              </a:xfrm>
              <a:custGeom>
                <a:avLst/>
                <a:gdLst>
                  <a:gd name="connsiteX0" fmla="*/ 0 w 259214"/>
                  <a:gd name="connsiteY0" fmla="*/ 228180 h 259219"/>
                  <a:gd name="connsiteX1" fmla="*/ 31037 w 259214"/>
                  <a:gd name="connsiteY1" fmla="*/ 259220 h 259219"/>
                  <a:gd name="connsiteX2" fmla="*/ 228177 w 259214"/>
                  <a:gd name="connsiteY2" fmla="*/ 259220 h 259219"/>
                  <a:gd name="connsiteX3" fmla="*/ 259215 w 259214"/>
                  <a:gd name="connsiteY3" fmla="*/ 228180 h 259219"/>
                  <a:gd name="connsiteX4" fmla="*/ 259215 w 259214"/>
                  <a:gd name="connsiteY4" fmla="*/ 31040 h 259219"/>
                  <a:gd name="connsiteX5" fmla="*/ 228177 w 259214"/>
                  <a:gd name="connsiteY5" fmla="*/ 0 h 259219"/>
                  <a:gd name="connsiteX6" fmla="*/ 31037 w 259214"/>
                  <a:gd name="connsiteY6" fmla="*/ 0 h 259219"/>
                  <a:gd name="connsiteX7" fmla="*/ 0 w 259214"/>
                  <a:gd name="connsiteY7" fmla="*/ 31040 h 259219"/>
                  <a:gd name="connsiteX8" fmla="*/ 36463 w 259214"/>
                  <a:gd name="connsiteY8" fmla="*/ 36463 h 259219"/>
                  <a:gd name="connsiteX9" fmla="*/ 222754 w 259214"/>
                  <a:gd name="connsiteY9" fmla="*/ 36463 h 259219"/>
                  <a:gd name="connsiteX10" fmla="*/ 222754 w 259214"/>
                  <a:gd name="connsiteY10" fmla="*/ 222754 h 259219"/>
                  <a:gd name="connsiteX11" fmla="*/ 36463 w 259214"/>
                  <a:gd name="connsiteY11" fmla="*/ 222754 h 259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59214" h="259219">
                    <a:moveTo>
                      <a:pt x="0" y="228180"/>
                    </a:moveTo>
                    <a:cubicBezTo>
                      <a:pt x="0" y="245296"/>
                      <a:pt x="13922" y="259220"/>
                      <a:pt x="31037" y="259220"/>
                    </a:cubicBezTo>
                    <a:lnTo>
                      <a:pt x="228177" y="259220"/>
                    </a:lnTo>
                    <a:cubicBezTo>
                      <a:pt x="245293" y="259220"/>
                      <a:pt x="259215" y="245298"/>
                      <a:pt x="259215" y="228180"/>
                    </a:cubicBezTo>
                    <a:lnTo>
                      <a:pt x="259215" y="31040"/>
                    </a:lnTo>
                    <a:cubicBezTo>
                      <a:pt x="259215" y="13924"/>
                      <a:pt x="245293" y="0"/>
                      <a:pt x="228177" y="0"/>
                    </a:cubicBezTo>
                    <a:lnTo>
                      <a:pt x="31037" y="0"/>
                    </a:lnTo>
                    <a:cubicBezTo>
                      <a:pt x="13922" y="0"/>
                      <a:pt x="0" y="13924"/>
                      <a:pt x="0" y="31040"/>
                    </a:cubicBezTo>
                    <a:close/>
                    <a:moveTo>
                      <a:pt x="36463" y="36463"/>
                    </a:moveTo>
                    <a:lnTo>
                      <a:pt x="222754" y="36463"/>
                    </a:lnTo>
                    <a:lnTo>
                      <a:pt x="222754" y="222754"/>
                    </a:lnTo>
                    <a:lnTo>
                      <a:pt x="36463" y="222754"/>
                    </a:lnTo>
                    <a:close/>
                  </a:path>
                </a:pathLst>
              </a:custGeom>
              <a:solidFill>
                <a:srgbClr val="000000"/>
              </a:solidFill>
              <a:ln w="2418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sv-SE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514350" fontAlgn="auto">
                  <a:spcBef>
                    <a:spcPts val="0"/>
                  </a:spcBef>
                  <a:spcAft>
                    <a:spcPts val="0"/>
                  </a:spcAft>
                </a:pPr>
                <a:endParaRPr lang="sv-SE" sz="76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</p:grpSp>
        <p:sp>
          <p:nvSpPr>
            <p:cNvPr id="362" name="Frihandsfigur: Form 361">
              <a:extLst>
                <a:ext uri="{FF2B5EF4-FFF2-40B4-BE49-F238E27FC236}">
                  <a16:creationId xmlns:a16="http://schemas.microsoft.com/office/drawing/2014/main" id="{D1D2F198-6237-2680-7F44-BB5A0D9EF5B3}"/>
                </a:ext>
              </a:extLst>
            </p:cNvPr>
            <p:cNvSpPr/>
            <p:nvPr/>
          </p:nvSpPr>
          <p:spPr>
            <a:xfrm>
              <a:off x="1447036" y="3324420"/>
              <a:ext cx="1156803" cy="1190794"/>
            </a:xfrm>
            <a:custGeom>
              <a:avLst/>
              <a:gdLst>
                <a:gd name="connsiteX0" fmla="*/ 1130068 w 1209070"/>
                <a:gd name="connsiteY0" fmla="*/ 118991 h 1244600"/>
                <a:gd name="connsiteX1" fmla="*/ 1041701 w 1209070"/>
                <a:gd name="connsiteY1" fmla="*/ 118991 h 1244600"/>
                <a:gd name="connsiteX2" fmla="*/ 1041701 w 1209070"/>
                <a:gd name="connsiteY2" fmla="*/ 75906 h 1244600"/>
                <a:gd name="connsiteX3" fmla="*/ 965793 w 1209070"/>
                <a:gd name="connsiteY3" fmla="*/ 0 h 1244600"/>
                <a:gd name="connsiteX4" fmla="*/ 889887 w 1209070"/>
                <a:gd name="connsiteY4" fmla="*/ 75906 h 1244600"/>
                <a:gd name="connsiteX5" fmla="*/ 889887 w 1209070"/>
                <a:gd name="connsiteY5" fmla="*/ 118991 h 1244600"/>
                <a:gd name="connsiteX6" fmla="*/ 680439 w 1209070"/>
                <a:gd name="connsiteY6" fmla="*/ 118991 h 1244600"/>
                <a:gd name="connsiteX7" fmla="*/ 680439 w 1209070"/>
                <a:gd name="connsiteY7" fmla="*/ 75906 h 1244600"/>
                <a:gd name="connsiteX8" fmla="*/ 604535 w 1209070"/>
                <a:gd name="connsiteY8" fmla="*/ 0 h 1244600"/>
                <a:gd name="connsiteX9" fmla="*/ 528629 w 1209070"/>
                <a:gd name="connsiteY9" fmla="*/ 75906 h 1244600"/>
                <a:gd name="connsiteX10" fmla="*/ 528629 w 1209070"/>
                <a:gd name="connsiteY10" fmla="*/ 118991 h 1244600"/>
                <a:gd name="connsiteX11" fmla="*/ 319182 w 1209070"/>
                <a:gd name="connsiteY11" fmla="*/ 118991 h 1244600"/>
                <a:gd name="connsiteX12" fmla="*/ 319182 w 1209070"/>
                <a:gd name="connsiteY12" fmla="*/ 75906 h 1244600"/>
                <a:gd name="connsiteX13" fmla="*/ 243278 w 1209070"/>
                <a:gd name="connsiteY13" fmla="*/ 0 h 1244600"/>
                <a:gd name="connsiteX14" fmla="*/ 167370 w 1209070"/>
                <a:gd name="connsiteY14" fmla="*/ 75906 h 1244600"/>
                <a:gd name="connsiteX15" fmla="*/ 167370 w 1209070"/>
                <a:gd name="connsiteY15" fmla="*/ 118991 h 1244600"/>
                <a:gd name="connsiteX16" fmla="*/ 79003 w 1209070"/>
                <a:gd name="connsiteY16" fmla="*/ 118991 h 1244600"/>
                <a:gd name="connsiteX17" fmla="*/ 0 w 1209070"/>
                <a:gd name="connsiteY17" fmla="*/ 197993 h 1244600"/>
                <a:gd name="connsiteX18" fmla="*/ 0 w 1209070"/>
                <a:gd name="connsiteY18" fmla="*/ 582570 h 1244600"/>
                <a:gd name="connsiteX19" fmla="*/ 18231 w 1209070"/>
                <a:gd name="connsiteY19" fmla="*/ 600802 h 1244600"/>
                <a:gd name="connsiteX20" fmla="*/ 36463 w 1209070"/>
                <a:gd name="connsiteY20" fmla="*/ 582570 h 1244600"/>
                <a:gd name="connsiteX21" fmla="*/ 36463 w 1209070"/>
                <a:gd name="connsiteY21" fmla="*/ 417505 h 1244600"/>
                <a:gd name="connsiteX22" fmla="*/ 756119 w 1209070"/>
                <a:gd name="connsiteY22" fmla="*/ 417505 h 1244600"/>
                <a:gd name="connsiteX23" fmla="*/ 774350 w 1209070"/>
                <a:gd name="connsiteY23" fmla="*/ 399274 h 1244600"/>
                <a:gd name="connsiteX24" fmla="*/ 756119 w 1209070"/>
                <a:gd name="connsiteY24" fmla="*/ 381042 h 1244600"/>
                <a:gd name="connsiteX25" fmla="*/ 36463 w 1209070"/>
                <a:gd name="connsiteY25" fmla="*/ 381042 h 1244600"/>
                <a:gd name="connsiteX26" fmla="*/ 36463 w 1209070"/>
                <a:gd name="connsiteY26" fmla="*/ 197993 h 1244600"/>
                <a:gd name="connsiteX27" fmla="*/ 79003 w 1209070"/>
                <a:gd name="connsiteY27" fmla="*/ 155453 h 1244600"/>
                <a:gd name="connsiteX28" fmla="*/ 167370 w 1209070"/>
                <a:gd name="connsiteY28" fmla="*/ 155453 h 1244600"/>
                <a:gd name="connsiteX29" fmla="*/ 167370 w 1209070"/>
                <a:gd name="connsiteY29" fmla="*/ 198540 h 1244600"/>
                <a:gd name="connsiteX30" fmla="*/ 243278 w 1209070"/>
                <a:gd name="connsiteY30" fmla="*/ 274446 h 1244600"/>
                <a:gd name="connsiteX31" fmla="*/ 319184 w 1209070"/>
                <a:gd name="connsiteY31" fmla="*/ 198540 h 1244600"/>
                <a:gd name="connsiteX32" fmla="*/ 319184 w 1209070"/>
                <a:gd name="connsiteY32" fmla="*/ 155453 h 1244600"/>
                <a:gd name="connsiteX33" fmla="*/ 528632 w 1209070"/>
                <a:gd name="connsiteY33" fmla="*/ 155453 h 1244600"/>
                <a:gd name="connsiteX34" fmla="*/ 528632 w 1209070"/>
                <a:gd name="connsiteY34" fmla="*/ 198540 h 1244600"/>
                <a:gd name="connsiteX35" fmla="*/ 604538 w 1209070"/>
                <a:gd name="connsiteY35" fmla="*/ 274446 h 1244600"/>
                <a:gd name="connsiteX36" fmla="*/ 680444 w 1209070"/>
                <a:gd name="connsiteY36" fmla="*/ 198540 h 1244600"/>
                <a:gd name="connsiteX37" fmla="*/ 680444 w 1209070"/>
                <a:gd name="connsiteY37" fmla="*/ 155453 h 1244600"/>
                <a:gd name="connsiteX38" fmla="*/ 889891 w 1209070"/>
                <a:gd name="connsiteY38" fmla="*/ 155453 h 1244600"/>
                <a:gd name="connsiteX39" fmla="*/ 889891 w 1209070"/>
                <a:gd name="connsiteY39" fmla="*/ 198540 h 1244600"/>
                <a:gd name="connsiteX40" fmla="*/ 965797 w 1209070"/>
                <a:gd name="connsiteY40" fmla="*/ 274446 h 1244600"/>
                <a:gd name="connsiteX41" fmla="*/ 1041706 w 1209070"/>
                <a:gd name="connsiteY41" fmla="*/ 198540 h 1244600"/>
                <a:gd name="connsiteX42" fmla="*/ 1041706 w 1209070"/>
                <a:gd name="connsiteY42" fmla="*/ 155453 h 1244600"/>
                <a:gd name="connsiteX43" fmla="*/ 1130075 w 1209070"/>
                <a:gd name="connsiteY43" fmla="*/ 155453 h 1244600"/>
                <a:gd name="connsiteX44" fmla="*/ 1172615 w 1209070"/>
                <a:gd name="connsiteY44" fmla="*/ 197993 h 1244600"/>
                <a:gd name="connsiteX45" fmla="*/ 1172615 w 1209070"/>
                <a:gd name="connsiteY45" fmla="*/ 381042 h 1244600"/>
                <a:gd name="connsiteX46" fmla="*/ 835574 w 1209070"/>
                <a:gd name="connsiteY46" fmla="*/ 381042 h 1244600"/>
                <a:gd name="connsiteX47" fmla="*/ 817342 w 1209070"/>
                <a:gd name="connsiteY47" fmla="*/ 399274 h 1244600"/>
                <a:gd name="connsiteX48" fmla="*/ 835574 w 1209070"/>
                <a:gd name="connsiteY48" fmla="*/ 417505 h 1244600"/>
                <a:gd name="connsiteX49" fmla="*/ 1172608 w 1209070"/>
                <a:gd name="connsiteY49" fmla="*/ 417505 h 1244600"/>
                <a:gd name="connsiteX50" fmla="*/ 1172608 w 1209070"/>
                <a:gd name="connsiteY50" fmla="*/ 1165597 h 1244600"/>
                <a:gd name="connsiteX51" fmla="*/ 1130068 w 1209070"/>
                <a:gd name="connsiteY51" fmla="*/ 1208137 h 1244600"/>
                <a:gd name="connsiteX52" fmla="*/ 996465 w 1209070"/>
                <a:gd name="connsiteY52" fmla="*/ 1208137 h 1244600"/>
                <a:gd name="connsiteX53" fmla="*/ 978234 w 1209070"/>
                <a:gd name="connsiteY53" fmla="*/ 1226369 h 1244600"/>
                <a:gd name="connsiteX54" fmla="*/ 996465 w 1209070"/>
                <a:gd name="connsiteY54" fmla="*/ 1244600 h 1244600"/>
                <a:gd name="connsiteX55" fmla="*/ 1130068 w 1209070"/>
                <a:gd name="connsiteY55" fmla="*/ 1244600 h 1244600"/>
                <a:gd name="connsiteX56" fmla="*/ 1209071 w 1209070"/>
                <a:gd name="connsiteY56" fmla="*/ 1165597 h 1244600"/>
                <a:gd name="connsiteX57" fmla="*/ 1209071 w 1209070"/>
                <a:gd name="connsiteY57" fmla="*/ 197993 h 1244600"/>
                <a:gd name="connsiteX58" fmla="*/ 1130068 w 1209070"/>
                <a:gd name="connsiteY58" fmla="*/ 118991 h 1244600"/>
                <a:gd name="connsiteX59" fmla="*/ 282719 w 1209070"/>
                <a:gd name="connsiteY59" fmla="*/ 198540 h 1244600"/>
                <a:gd name="connsiteX60" fmla="*/ 243276 w 1209070"/>
                <a:gd name="connsiteY60" fmla="*/ 237984 h 1244600"/>
                <a:gd name="connsiteX61" fmla="*/ 203830 w 1209070"/>
                <a:gd name="connsiteY61" fmla="*/ 198540 h 1244600"/>
                <a:gd name="connsiteX62" fmla="*/ 203830 w 1209070"/>
                <a:gd name="connsiteY62" fmla="*/ 75906 h 1244600"/>
                <a:gd name="connsiteX63" fmla="*/ 243278 w 1209070"/>
                <a:gd name="connsiteY63" fmla="*/ 36463 h 1244600"/>
                <a:gd name="connsiteX64" fmla="*/ 282721 w 1209070"/>
                <a:gd name="connsiteY64" fmla="*/ 75906 h 1244600"/>
                <a:gd name="connsiteX65" fmla="*/ 282721 w 1209070"/>
                <a:gd name="connsiteY65" fmla="*/ 198540 h 1244600"/>
                <a:gd name="connsiteX66" fmla="*/ 643978 w 1209070"/>
                <a:gd name="connsiteY66" fmla="*/ 198540 h 1244600"/>
                <a:gd name="connsiteX67" fmla="*/ 604535 w 1209070"/>
                <a:gd name="connsiteY67" fmla="*/ 237984 h 1244600"/>
                <a:gd name="connsiteX68" fmla="*/ 565092 w 1209070"/>
                <a:gd name="connsiteY68" fmla="*/ 198540 h 1244600"/>
                <a:gd name="connsiteX69" fmla="*/ 565092 w 1209070"/>
                <a:gd name="connsiteY69" fmla="*/ 75906 h 1244600"/>
                <a:gd name="connsiteX70" fmla="*/ 604535 w 1209070"/>
                <a:gd name="connsiteY70" fmla="*/ 36463 h 1244600"/>
                <a:gd name="connsiteX71" fmla="*/ 643978 w 1209070"/>
                <a:gd name="connsiteY71" fmla="*/ 75906 h 1244600"/>
                <a:gd name="connsiteX72" fmla="*/ 1005238 w 1209070"/>
                <a:gd name="connsiteY72" fmla="*/ 198540 h 1244600"/>
                <a:gd name="connsiteX73" fmla="*/ 965793 w 1209070"/>
                <a:gd name="connsiteY73" fmla="*/ 237984 h 1244600"/>
                <a:gd name="connsiteX74" fmla="*/ 926349 w 1209070"/>
                <a:gd name="connsiteY74" fmla="*/ 198540 h 1244600"/>
                <a:gd name="connsiteX75" fmla="*/ 926349 w 1209070"/>
                <a:gd name="connsiteY75" fmla="*/ 75906 h 1244600"/>
                <a:gd name="connsiteX76" fmla="*/ 965793 w 1209070"/>
                <a:gd name="connsiteY76" fmla="*/ 36463 h 1244600"/>
                <a:gd name="connsiteX77" fmla="*/ 1005238 w 1209070"/>
                <a:gd name="connsiteY77" fmla="*/ 75906 h 1244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1209070" h="1244600">
                  <a:moveTo>
                    <a:pt x="1130068" y="118991"/>
                  </a:moveTo>
                  <a:lnTo>
                    <a:pt x="1041701" y="118991"/>
                  </a:lnTo>
                  <a:lnTo>
                    <a:pt x="1041701" y="75906"/>
                  </a:lnTo>
                  <a:cubicBezTo>
                    <a:pt x="1041701" y="34051"/>
                    <a:pt x="1007650" y="0"/>
                    <a:pt x="965793" y="0"/>
                  </a:cubicBezTo>
                  <a:cubicBezTo>
                    <a:pt x="923938" y="0"/>
                    <a:pt x="889887" y="34051"/>
                    <a:pt x="889887" y="75906"/>
                  </a:cubicBezTo>
                  <a:lnTo>
                    <a:pt x="889887" y="118991"/>
                  </a:lnTo>
                  <a:lnTo>
                    <a:pt x="680439" y="118991"/>
                  </a:lnTo>
                  <a:lnTo>
                    <a:pt x="680439" y="75906"/>
                  </a:lnTo>
                  <a:cubicBezTo>
                    <a:pt x="680441" y="34051"/>
                    <a:pt x="646390" y="0"/>
                    <a:pt x="604535" y="0"/>
                  </a:cubicBezTo>
                  <a:cubicBezTo>
                    <a:pt x="562681" y="0"/>
                    <a:pt x="528629" y="34051"/>
                    <a:pt x="528629" y="75906"/>
                  </a:cubicBezTo>
                  <a:lnTo>
                    <a:pt x="528629" y="118991"/>
                  </a:lnTo>
                  <a:lnTo>
                    <a:pt x="319182" y="118991"/>
                  </a:lnTo>
                  <a:lnTo>
                    <a:pt x="319182" y="75906"/>
                  </a:lnTo>
                  <a:cubicBezTo>
                    <a:pt x="319182" y="34051"/>
                    <a:pt x="285130" y="0"/>
                    <a:pt x="243278" y="0"/>
                  </a:cubicBezTo>
                  <a:cubicBezTo>
                    <a:pt x="201421" y="0"/>
                    <a:pt x="167370" y="34051"/>
                    <a:pt x="167370" y="75906"/>
                  </a:cubicBezTo>
                  <a:lnTo>
                    <a:pt x="167370" y="118991"/>
                  </a:lnTo>
                  <a:lnTo>
                    <a:pt x="79003" y="118991"/>
                  </a:lnTo>
                  <a:cubicBezTo>
                    <a:pt x="35439" y="118991"/>
                    <a:pt x="0" y="154430"/>
                    <a:pt x="0" y="197993"/>
                  </a:cubicBezTo>
                  <a:lnTo>
                    <a:pt x="0" y="582570"/>
                  </a:lnTo>
                  <a:cubicBezTo>
                    <a:pt x="0" y="592641"/>
                    <a:pt x="8160" y="600802"/>
                    <a:pt x="18231" y="600802"/>
                  </a:cubicBezTo>
                  <a:cubicBezTo>
                    <a:pt x="28302" y="600802"/>
                    <a:pt x="36463" y="592641"/>
                    <a:pt x="36463" y="582570"/>
                  </a:cubicBezTo>
                  <a:lnTo>
                    <a:pt x="36463" y="417505"/>
                  </a:lnTo>
                  <a:lnTo>
                    <a:pt x="756119" y="417505"/>
                  </a:lnTo>
                  <a:cubicBezTo>
                    <a:pt x="766190" y="417505"/>
                    <a:pt x="774350" y="409345"/>
                    <a:pt x="774350" y="399274"/>
                  </a:cubicBezTo>
                  <a:cubicBezTo>
                    <a:pt x="774350" y="389202"/>
                    <a:pt x="766190" y="381042"/>
                    <a:pt x="756119" y="381042"/>
                  </a:cubicBezTo>
                  <a:lnTo>
                    <a:pt x="36463" y="381042"/>
                  </a:lnTo>
                  <a:lnTo>
                    <a:pt x="36463" y="197993"/>
                  </a:lnTo>
                  <a:cubicBezTo>
                    <a:pt x="36463" y="174538"/>
                    <a:pt x="55548" y="155453"/>
                    <a:pt x="79003" y="155453"/>
                  </a:cubicBezTo>
                  <a:lnTo>
                    <a:pt x="167370" y="155453"/>
                  </a:lnTo>
                  <a:lnTo>
                    <a:pt x="167370" y="198540"/>
                  </a:lnTo>
                  <a:cubicBezTo>
                    <a:pt x="167370" y="240395"/>
                    <a:pt x="201421" y="274446"/>
                    <a:pt x="243278" y="274446"/>
                  </a:cubicBezTo>
                  <a:cubicBezTo>
                    <a:pt x="285133" y="274446"/>
                    <a:pt x="319184" y="240395"/>
                    <a:pt x="319184" y="198540"/>
                  </a:cubicBezTo>
                  <a:lnTo>
                    <a:pt x="319184" y="155453"/>
                  </a:lnTo>
                  <a:lnTo>
                    <a:pt x="528632" y="155453"/>
                  </a:lnTo>
                  <a:lnTo>
                    <a:pt x="528632" y="198540"/>
                  </a:lnTo>
                  <a:cubicBezTo>
                    <a:pt x="528632" y="240395"/>
                    <a:pt x="562683" y="274446"/>
                    <a:pt x="604538" y="274446"/>
                  </a:cubicBezTo>
                  <a:cubicBezTo>
                    <a:pt x="646392" y="274446"/>
                    <a:pt x="680444" y="240395"/>
                    <a:pt x="680444" y="198540"/>
                  </a:cubicBezTo>
                  <a:lnTo>
                    <a:pt x="680444" y="155453"/>
                  </a:lnTo>
                  <a:lnTo>
                    <a:pt x="889891" y="155453"/>
                  </a:lnTo>
                  <a:lnTo>
                    <a:pt x="889891" y="198540"/>
                  </a:lnTo>
                  <a:cubicBezTo>
                    <a:pt x="889891" y="240395"/>
                    <a:pt x="923943" y="274446"/>
                    <a:pt x="965797" y="274446"/>
                  </a:cubicBezTo>
                  <a:cubicBezTo>
                    <a:pt x="1007654" y="274446"/>
                    <a:pt x="1041706" y="240395"/>
                    <a:pt x="1041706" y="198540"/>
                  </a:cubicBezTo>
                  <a:lnTo>
                    <a:pt x="1041706" y="155453"/>
                  </a:lnTo>
                  <a:lnTo>
                    <a:pt x="1130075" y="155453"/>
                  </a:lnTo>
                  <a:cubicBezTo>
                    <a:pt x="1153530" y="155453"/>
                    <a:pt x="1172615" y="174538"/>
                    <a:pt x="1172615" y="197993"/>
                  </a:cubicBezTo>
                  <a:lnTo>
                    <a:pt x="1172615" y="381042"/>
                  </a:lnTo>
                  <a:lnTo>
                    <a:pt x="835574" y="381042"/>
                  </a:lnTo>
                  <a:cubicBezTo>
                    <a:pt x="825503" y="381042"/>
                    <a:pt x="817342" y="389202"/>
                    <a:pt x="817342" y="399274"/>
                  </a:cubicBezTo>
                  <a:cubicBezTo>
                    <a:pt x="817342" y="409345"/>
                    <a:pt x="825503" y="417505"/>
                    <a:pt x="835574" y="417505"/>
                  </a:cubicBezTo>
                  <a:lnTo>
                    <a:pt x="1172608" y="417505"/>
                  </a:lnTo>
                  <a:lnTo>
                    <a:pt x="1172608" y="1165597"/>
                  </a:lnTo>
                  <a:cubicBezTo>
                    <a:pt x="1172608" y="1189052"/>
                    <a:pt x="1153523" y="1208137"/>
                    <a:pt x="1130068" y="1208137"/>
                  </a:cubicBezTo>
                  <a:lnTo>
                    <a:pt x="996465" y="1208137"/>
                  </a:lnTo>
                  <a:cubicBezTo>
                    <a:pt x="986394" y="1208137"/>
                    <a:pt x="978234" y="1216298"/>
                    <a:pt x="978234" y="1226369"/>
                  </a:cubicBezTo>
                  <a:cubicBezTo>
                    <a:pt x="978234" y="1236440"/>
                    <a:pt x="986394" y="1244600"/>
                    <a:pt x="996465" y="1244600"/>
                  </a:cubicBezTo>
                  <a:lnTo>
                    <a:pt x="1130068" y="1244600"/>
                  </a:lnTo>
                  <a:cubicBezTo>
                    <a:pt x="1173631" y="1244600"/>
                    <a:pt x="1209071" y="1209161"/>
                    <a:pt x="1209071" y="1165597"/>
                  </a:cubicBezTo>
                  <a:lnTo>
                    <a:pt x="1209071" y="197993"/>
                  </a:lnTo>
                  <a:cubicBezTo>
                    <a:pt x="1209071" y="154430"/>
                    <a:pt x="1173631" y="118991"/>
                    <a:pt x="1130068" y="118991"/>
                  </a:cubicBezTo>
                  <a:close/>
                  <a:moveTo>
                    <a:pt x="282719" y="198540"/>
                  </a:moveTo>
                  <a:cubicBezTo>
                    <a:pt x="282719" y="220289"/>
                    <a:pt x="265027" y="237984"/>
                    <a:pt x="243276" y="237984"/>
                  </a:cubicBezTo>
                  <a:cubicBezTo>
                    <a:pt x="221527" y="237984"/>
                    <a:pt x="203830" y="220292"/>
                    <a:pt x="203830" y="198540"/>
                  </a:cubicBezTo>
                  <a:lnTo>
                    <a:pt x="203830" y="75906"/>
                  </a:lnTo>
                  <a:cubicBezTo>
                    <a:pt x="203832" y="54155"/>
                    <a:pt x="221527" y="36463"/>
                    <a:pt x="243278" y="36463"/>
                  </a:cubicBezTo>
                  <a:cubicBezTo>
                    <a:pt x="265027" y="36463"/>
                    <a:pt x="282721" y="54155"/>
                    <a:pt x="282721" y="75906"/>
                  </a:cubicBezTo>
                  <a:lnTo>
                    <a:pt x="282721" y="198540"/>
                  </a:lnTo>
                  <a:close/>
                  <a:moveTo>
                    <a:pt x="643978" y="198540"/>
                  </a:moveTo>
                  <a:cubicBezTo>
                    <a:pt x="643978" y="220289"/>
                    <a:pt x="626287" y="237984"/>
                    <a:pt x="604535" y="237984"/>
                  </a:cubicBezTo>
                  <a:cubicBezTo>
                    <a:pt x="582784" y="237984"/>
                    <a:pt x="565092" y="220292"/>
                    <a:pt x="565092" y="198540"/>
                  </a:cubicBezTo>
                  <a:lnTo>
                    <a:pt x="565092" y="75906"/>
                  </a:lnTo>
                  <a:cubicBezTo>
                    <a:pt x="565092" y="54155"/>
                    <a:pt x="582786" y="36463"/>
                    <a:pt x="604535" y="36463"/>
                  </a:cubicBezTo>
                  <a:cubicBezTo>
                    <a:pt x="626284" y="36463"/>
                    <a:pt x="643978" y="54155"/>
                    <a:pt x="643978" y="75906"/>
                  </a:cubicBezTo>
                  <a:close/>
                  <a:moveTo>
                    <a:pt x="1005238" y="198540"/>
                  </a:moveTo>
                  <a:cubicBezTo>
                    <a:pt x="1005238" y="220289"/>
                    <a:pt x="987544" y="237984"/>
                    <a:pt x="965793" y="237984"/>
                  </a:cubicBezTo>
                  <a:cubicBezTo>
                    <a:pt x="944044" y="237984"/>
                    <a:pt x="926349" y="220292"/>
                    <a:pt x="926349" y="198540"/>
                  </a:cubicBezTo>
                  <a:lnTo>
                    <a:pt x="926349" y="75906"/>
                  </a:lnTo>
                  <a:cubicBezTo>
                    <a:pt x="926349" y="54157"/>
                    <a:pt x="944041" y="36463"/>
                    <a:pt x="965793" y="36463"/>
                  </a:cubicBezTo>
                  <a:cubicBezTo>
                    <a:pt x="987542" y="36463"/>
                    <a:pt x="1005238" y="54155"/>
                    <a:pt x="1005238" y="75906"/>
                  </a:cubicBezTo>
                  <a:close/>
                </a:path>
              </a:pathLst>
            </a:custGeom>
            <a:solidFill>
              <a:srgbClr val="000000"/>
            </a:solidFill>
            <a:ln w="2418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363" name="Frihandsfigur: Form 362">
              <a:extLst>
                <a:ext uri="{FF2B5EF4-FFF2-40B4-BE49-F238E27FC236}">
                  <a16:creationId xmlns:a16="http://schemas.microsoft.com/office/drawing/2014/main" id="{63A932F2-83AB-D552-047D-B3BC8489C236}"/>
                </a:ext>
              </a:extLst>
            </p:cNvPr>
            <p:cNvSpPr/>
            <p:nvPr/>
          </p:nvSpPr>
          <p:spPr>
            <a:xfrm>
              <a:off x="1918877" y="3837226"/>
              <a:ext cx="213122" cy="213121"/>
            </a:xfrm>
            <a:custGeom>
              <a:avLst/>
              <a:gdLst>
                <a:gd name="connsiteX0" fmla="*/ 209946 w 222751"/>
                <a:gd name="connsiteY0" fmla="*/ 222752 h 222751"/>
                <a:gd name="connsiteX1" fmla="*/ 12806 w 222751"/>
                <a:gd name="connsiteY1" fmla="*/ 222752 h 222751"/>
                <a:gd name="connsiteX2" fmla="*/ 0 w 222751"/>
                <a:gd name="connsiteY2" fmla="*/ 209946 h 222751"/>
                <a:gd name="connsiteX3" fmla="*/ 0 w 222751"/>
                <a:gd name="connsiteY3" fmla="*/ 12806 h 222751"/>
                <a:gd name="connsiteX4" fmla="*/ 12806 w 222751"/>
                <a:gd name="connsiteY4" fmla="*/ 0 h 222751"/>
                <a:gd name="connsiteX5" fmla="*/ 209946 w 222751"/>
                <a:gd name="connsiteY5" fmla="*/ 0 h 222751"/>
                <a:gd name="connsiteX6" fmla="*/ 222752 w 222751"/>
                <a:gd name="connsiteY6" fmla="*/ 12806 h 222751"/>
                <a:gd name="connsiteX7" fmla="*/ 222752 w 222751"/>
                <a:gd name="connsiteY7" fmla="*/ 209946 h 222751"/>
                <a:gd name="connsiteX8" fmla="*/ 209946 w 222751"/>
                <a:gd name="connsiteY8" fmla="*/ 222752 h 222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2750" h="222750">
                  <a:moveTo>
                    <a:pt x="209946" y="222752"/>
                  </a:moveTo>
                  <a:lnTo>
                    <a:pt x="12806" y="222752"/>
                  </a:lnTo>
                  <a:cubicBezTo>
                    <a:pt x="5732" y="222752"/>
                    <a:pt x="0" y="217017"/>
                    <a:pt x="0" y="209946"/>
                  </a:cubicBezTo>
                  <a:lnTo>
                    <a:pt x="0" y="12806"/>
                  </a:lnTo>
                  <a:cubicBezTo>
                    <a:pt x="0" y="5732"/>
                    <a:pt x="5734" y="0"/>
                    <a:pt x="12806" y="0"/>
                  </a:cubicBezTo>
                  <a:lnTo>
                    <a:pt x="209946" y="0"/>
                  </a:lnTo>
                  <a:cubicBezTo>
                    <a:pt x="217020" y="0"/>
                    <a:pt x="222752" y="5734"/>
                    <a:pt x="222752" y="12806"/>
                  </a:cubicBezTo>
                  <a:lnTo>
                    <a:pt x="222752" y="209946"/>
                  </a:lnTo>
                  <a:cubicBezTo>
                    <a:pt x="222752" y="217017"/>
                    <a:pt x="217020" y="222752"/>
                    <a:pt x="209946" y="222752"/>
                  </a:cubicBezTo>
                  <a:close/>
                </a:path>
              </a:pathLst>
            </a:custGeom>
            <a:solidFill>
              <a:srgbClr val="F8F8F8"/>
            </a:solidFill>
            <a:ln w="2418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364" name="Frihandsfigur: Form 363">
              <a:extLst>
                <a:ext uri="{FF2B5EF4-FFF2-40B4-BE49-F238E27FC236}">
                  <a16:creationId xmlns:a16="http://schemas.microsoft.com/office/drawing/2014/main" id="{D823637E-13AA-368F-D73B-2B81983F1DBF}"/>
                </a:ext>
              </a:extLst>
            </p:cNvPr>
            <p:cNvSpPr/>
            <p:nvPr/>
          </p:nvSpPr>
          <p:spPr>
            <a:xfrm>
              <a:off x="1901436" y="3819782"/>
              <a:ext cx="248009" cy="248011"/>
            </a:xfrm>
            <a:custGeom>
              <a:avLst/>
              <a:gdLst>
                <a:gd name="connsiteX0" fmla="*/ 31037 w 259214"/>
                <a:gd name="connsiteY0" fmla="*/ 259217 h 259217"/>
                <a:gd name="connsiteX1" fmla="*/ 228177 w 259214"/>
                <a:gd name="connsiteY1" fmla="*/ 259217 h 259217"/>
                <a:gd name="connsiteX2" fmla="*/ 259215 w 259214"/>
                <a:gd name="connsiteY2" fmla="*/ 228180 h 259217"/>
                <a:gd name="connsiteX3" fmla="*/ 259215 w 259214"/>
                <a:gd name="connsiteY3" fmla="*/ 31040 h 259217"/>
                <a:gd name="connsiteX4" fmla="*/ 228177 w 259214"/>
                <a:gd name="connsiteY4" fmla="*/ 0 h 259217"/>
                <a:gd name="connsiteX5" fmla="*/ 31037 w 259214"/>
                <a:gd name="connsiteY5" fmla="*/ 0 h 259217"/>
                <a:gd name="connsiteX6" fmla="*/ 0 w 259214"/>
                <a:gd name="connsiteY6" fmla="*/ 31040 h 259217"/>
                <a:gd name="connsiteX7" fmla="*/ 0 w 259214"/>
                <a:gd name="connsiteY7" fmla="*/ 228180 h 259217"/>
                <a:gd name="connsiteX8" fmla="*/ 31037 w 259214"/>
                <a:gd name="connsiteY8" fmla="*/ 259217 h 259217"/>
                <a:gd name="connsiteX9" fmla="*/ 36460 w 259214"/>
                <a:gd name="connsiteY9" fmla="*/ 36463 h 259217"/>
                <a:gd name="connsiteX10" fmla="*/ 222752 w 259214"/>
                <a:gd name="connsiteY10" fmla="*/ 36463 h 259217"/>
                <a:gd name="connsiteX11" fmla="*/ 222752 w 259214"/>
                <a:gd name="connsiteY11" fmla="*/ 222754 h 259217"/>
                <a:gd name="connsiteX12" fmla="*/ 36460 w 259214"/>
                <a:gd name="connsiteY12" fmla="*/ 222754 h 259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9214" h="259217">
                  <a:moveTo>
                    <a:pt x="31037" y="259217"/>
                  </a:moveTo>
                  <a:lnTo>
                    <a:pt x="228177" y="259217"/>
                  </a:lnTo>
                  <a:cubicBezTo>
                    <a:pt x="245293" y="259217"/>
                    <a:pt x="259215" y="245296"/>
                    <a:pt x="259215" y="228180"/>
                  </a:cubicBezTo>
                  <a:lnTo>
                    <a:pt x="259215" y="31040"/>
                  </a:lnTo>
                  <a:cubicBezTo>
                    <a:pt x="259215" y="13924"/>
                    <a:pt x="245293" y="0"/>
                    <a:pt x="228177" y="0"/>
                  </a:cubicBezTo>
                  <a:lnTo>
                    <a:pt x="31037" y="0"/>
                  </a:lnTo>
                  <a:cubicBezTo>
                    <a:pt x="13922" y="0"/>
                    <a:pt x="0" y="13924"/>
                    <a:pt x="0" y="31040"/>
                  </a:cubicBezTo>
                  <a:lnTo>
                    <a:pt x="0" y="228180"/>
                  </a:lnTo>
                  <a:cubicBezTo>
                    <a:pt x="-2" y="245296"/>
                    <a:pt x="13922" y="259217"/>
                    <a:pt x="31037" y="259217"/>
                  </a:cubicBezTo>
                  <a:close/>
                  <a:moveTo>
                    <a:pt x="36460" y="36463"/>
                  </a:moveTo>
                  <a:lnTo>
                    <a:pt x="222752" y="36463"/>
                  </a:lnTo>
                  <a:lnTo>
                    <a:pt x="222752" y="222754"/>
                  </a:lnTo>
                  <a:lnTo>
                    <a:pt x="36460" y="222754"/>
                  </a:lnTo>
                  <a:close/>
                </a:path>
              </a:pathLst>
            </a:custGeom>
            <a:solidFill>
              <a:srgbClr val="000000"/>
            </a:solidFill>
            <a:ln w="2418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365" name="Frihandsfigur: Form 364">
              <a:extLst>
                <a:ext uri="{FF2B5EF4-FFF2-40B4-BE49-F238E27FC236}">
                  <a16:creationId xmlns:a16="http://schemas.microsoft.com/office/drawing/2014/main" id="{8E91829C-69EA-862D-A65B-289F6145EA1B}"/>
                </a:ext>
              </a:extLst>
            </p:cNvPr>
            <p:cNvSpPr/>
            <p:nvPr/>
          </p:nvSpPr>
          <p:spPr>
            <a:xfrm>
              <a:off x="2243163" y="4139449"/>
              <a:ext cx="248013" cy="248011"/>
            </a:xfrm>
            <a:custGeom>
              <a:avLst/>
              <a:gdLst>
                <a:gd name="connsiteX0" fmla="*/ 0 w 259217"/>
                <a:gd name="connsiteY0" fmla="*/ 228180 h 259219"/>
                <a:gd name="connsiteX1" fmla="*/ 31037 w 259217"/>
                <a:gd name="connsiteY1" fmla="*/ 259220 h 259219"/>
                <a:gd name="connsiteX2" fmla="*/ 228180 w 259217"/>
                <a:gd name="connsiteY2" fmla="*/ 259220 h 259219"/>
                <a:gd name="connsiteX3" fmla="*/ 259217 w 259217"/>
                <a:gd name="connsiteY3" fmla="*/ 228180 h 259219"/>
                <a:gd name="connsiteX4" fmla="*/ 259217 w 259217"/>
                <a:gd name="connsiteY4" fmla="*/ 31040 h 259219"/>
                <a:gd name="connsiteX5" fmla="*/ 228180 w 259217"/>
                <a:gd name="connsiteY5" fmla="*/ 0 h 259219"/>
                <a:gd name="connsiteX6" fmla="*/ 31037 w 259217"/>
                <a:gd name="connsiteY6" fmla="*/ 0 h 259219"/>
                <a:gd name="connsiteX7" fmla="*/ 0 w 259217"/>
                <a:gd name="connsiteY7" fmla="*/ 31040 h 259219"/>
                <a:gd name="connsiteX8" fmla="*/ 36463 w 259217"/>
                <a:gd name="connsiteY8" fmla="*/ 36463 h 259219"/>
                <a:gd name="connsiteX9" fmla="*/ 222752 w 259217"/>
                <a:gd name="connsiteY9" fmla="*/ 36463 h 259219"/>
                <a:gd name="connsiteX10" fmla="*/ 222752 w 259217"/>
                <a:gd name="connsiteY10" fmla="*/ 222754 h 259219"/>
                <a:gd name="connsiteX11" fmla="*/ 36463 w 259217"/>
                <a:gd name="connsiteY11" fmla="*/ 222754 h 259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9217" h="259219">
                  <a:moveTo>
                    <a:pt x="0" y="228180"/>
                  </a:moveTo>
                  <a:cubicBezTo>
                    <a:pt x="0" y="245296"/>
                    <a:pt x="13924" y="259220"/>
                    <a:pt x="31037" y="259220"/>
                  </a:cubicBezTo>
                  <a:lnTo>
                    <a:pt x="228180" y="259220"/>
                  </a:lnTo>
                  <a:cubicBezTo>
                    <a:pt x="245293" y="259220"/>
                    <a:pt x="259217" y="245298"/>
                    <a:pt x="259217" y="228180"/>
                  </a:cubicBezTo>
                  <a:lnTo>
                    <a:pt x="259217" y="31040"/>
                  </a:lnTo>
                  <a:cubicBezTo>
                    <a:pt x="259217" y="13924"/>
                    <a:pt x="245293" y="0"/>
                    <a:pt x="228180" y="0"/>
                  </a:cubicBezTo>
                  <a:lnTo>
                    <a:pt x="31037" y="0"/>
                  </a:lnTo>
                  <a:cubicBezTo>
                    <a:pt x="13924" y="0"/>
                    <a:pt x="0" y="13924"/>
                    <a:pt x="0" y="31040"/>
                  </a:cubicBezTo>
                  <a:close/>
                  <a:moveTo>
                    <a:pt x="36463" y="36463"/>
                  </a:moveTo>
                  <a:lnTo>
                    <a:pt x="222752" y="36463"/>
                  </a:lnTo>
                  <a:lnTo>
                    <a:pt x="222752" y="222754"/>
                  </a:lnTo>
                  <a:lnTo>
                    <a:pt x="36463" y="222754"/>
                  </a:lnTo>
                  <a:close/>
                </a:path>
              </a:pathLst>
            </a:custGeom>
            <a:solidFill>
              <a:srgbClr val="000000"/>
            </a:solidFill>
            <a:ln w="2418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366" name="Frihandsfigur: Form 365">
              <a:extLst>
                <a:ext uri="{FF2B5EF4-FFF2-40B4-BE49-F238E27FC236}">
                  <a16:creationId xmlns:a16="http://schemas.microsoft.com/office/drawing/2014/main" id="{E10DA379-9F28-E132-D031-BD8B44932567}"/>
                </a:ext>
              </a:extLst>
            </p:cNvPr>
            <p:cNvSpPr/>
            <p:nvPr/>
          </p:nvSpPr>
          <p:spPr>
            <a:xfrm rot="18900000" flipH="1">
              <a:off x="2291923" y="4211337"/>
              <a:ext cx="151916" cy="80757"/>
            </a:xfrm>
            <a:custGeom>
              <a:avLst/>
              <a:gdLst>
                <a:gd name="connsiteX0" fmla="*/ 69343 w 2050616"/>
                <a:gd name="connsiteY0" fmla="*/ 685939 h 1090097"/>
                <a:gd name="connsiteX1" fmla="*/ 0 w 2050616"/>
                <a:gd name="connsiteY1" fmla="*/ 853347 h 1090097"/>
                <a:gd name="connsiteX2" fmla="*/ 236750 w 2050616"/>
                <a:gd name="connsiteY2" fmla="*/ 1090097 h 1090097"/>
                <a:gd name="connsiteX3" fmla="*/ 1804908 w 2050616"/>
                <a:gd name="connsiteY3" fmla="*/ 1090097 h 1090097"/>
                <a:gd name="connsiteX4" fmla="*/ 1972316 w 2050616"/>
                <a:gd name="connsiteY4" fmla="*/ 1020754 h 1090097"/>
                <a:gd name="connsiteX5" fmla="*/ 1976375 w 2050616"/>
                <a:gd name="connsiteY5" fmla="*/ 1015834 h 1090097"/>
                <a:gd name="connsiteX6" fmla="*/ 1981273 w 2050616"/>
                <a:gd name="connsiteY6" fmla="*/ 1011792 h 1090097"/>
                <a:gd name="connsiteX7" fmla="*/ 2050616 w 2050616"/>
                <a:gd name="connsiteY7" fmla="*/ 844385 h 1090097"/>
                <a:gd name="connsiteX8" fmla="*/ 2050616 w 2050616"/>
                <a:gd name="connsiteY8" fmla="*/ 236750 h 1090097"/>
                <a:gd name="connsiteX9" fmla="*/ 1813866 w 2050616"/>
                <a:gd name="connsiteY9" fmla="*/ 0 h 1090097"/>
                <a:gd name="connsiteX10" fmla="*/ 1577116 w 2050616"/>
                <a:gd name="connsiteY10" fmla="*/ 236750 h 1090097"/>
                <a:gd name="connsiteX11" fmla="*/ 1577116 w 2050616"/>
                <a:gd name="connsiteY11" fmla="*/ 616597 h 1090097"/>
                <a:gd name="connsiteX12" fmla="*/ 236750 w 2050616"/>
                <a:gd name="connsiteY12" fmla="*/ 616597 h 1090097"/>
                <a:gd name="connsiteX13" fmla="*/ 69343 w 2050616"/>
                <a:gd name="connsiteY13" fmla="*/ 685939 h 1090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50616" h="1090097">
                  <a:moveTo>
                    <a:pt x="69343" y="685939"/>
                  </a:moveTo>
                  <a:cubicBezTo>
                    <a:pt x="26499" y="728783"/>
                    <a:pt x="0" y="787970"/>
                    <a:pt x="0" y="853347"/>
                  </a:cubicBezTo>
                  <a:cubicBezTo>
                    <a:pt x="0" y="984099"/>
                    <a:pt x="105997" y="1090096"/>
                    <a:pt x="236750" y="1090097"/>
                  </a:cubicBezTo>
                  <a:lnTo>
                    <a:pt x="1804908" y="1090097"/>
                  </a:lnTo>
                  <a:cubicBezTo>
                    <a:pt x="1870284" y="1090097"/>
                    <a:pt x="1929472" y="1063597"/>
                    <a:pt x="1972316" y="1020754"/>
                  </a:cubicBezTo>
                  <a:lnTo>
                    <a:pt x="1976375" y="1015834"/>
                  </a:lnTo>
                  <a:lnTo>
                    <a:pt x="1981273" y="1011792"/>
                  </a:lnTo>
                  <a:cubicBezTo>
                    <a:pt x="2024117" y="968949"/>
                    <a:pt x="2050616" y="909761"/>
                    <a:pt x="2050616" y="844385"/>
                  </a:cubicBezTo>
                  <a:lnTo>
                    <a:pt x="2050616" y="236750"/>
                  </a:lnTo>
                  <a:cubicBezTo>
                    <a:pt x="2050616" y="105997"/>
                    <a:pt x="1944619" y="0"/>
                    <a:pt x="1813866" y="0"/>
                  </a:cubicBezTo>
                  <a:cubicBezTo>
                    <a:pt x="1683113" y="0"/>
                    <a:pt x="1577116" y="105997"/>
                    <a:pt x="1577116" y="236750"/>
                  </a:cubicBezTo>
                  <a:lnTo>
                    <a:pt x="1577116" y="616597"/>
                  </a:lnTo>
                  <a:lnTo>
                    <a:pt x="236750" y="616597"/>
                  </a:lnTo>
                  <a:cubicBezTo>
                    <a:pt x="171373" y="616597"/>
                    <a:pt x="112186" y="643096"/>
                    <a:pt x="69343" y="68593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0250" tIns="20250" rIns="20250" bIns="20250" rtlCol="0" anchor="ctr">
              <a:noAutofit/>
            </a:bodyPr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algn="ctr"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 err="1">
                <a:solidFill>
                  <a:srgbClr val="000000"/>
                </a:solidFill>
                <a:cs typeface="Arial"/>
              </a:endParaRPr>
            </a:p>
          </p:txBody>
        </p:sp>
      </p:grpSp>
      <p:grpSp>
        <p:nvGrpSpPr>
          <p:cNvPr id="369" name="Grupp 368">
            <a:extLst>
              <a:ext uri="{FF2B5EF4-FFF2-40B4-BE49-F238E27FC236}">
                <a16:creationId xmlns:a16="http://schemas.microsoft.com/office/drawing/2014/main" id="{54457ADA-9341-4D65-0AEB-74B0533A4BE9}"/>
              </a:ext>
            </a:extLst>
          </p:cNvPr>
          <p:cNvGrpSpPr/>
          <p:nvPr/>
        </p:nvGrpSpPr>
        <p:grpSpPr>
          <a:xfrm>
            <a:off x="798197" y="3481289"/>
            <a:ext cx="289440" cy="262987"/>
            <a:chOff x="1419015" y="4885090"/>
            <a:chExt cx="1282395" cy="1165190"/>
          </a:xfrm>
        </p:grpSpPr>
        <p:sp>
          <p:nvSpPr>
            <p:cNvPr id="370" name="Frihandsfigur: Form 369">
              <a:extLst>
                <a:ext uri="{FF2B5EF4-FFF2-40B4-BE49-F238E27FC236}">
                  <a16:creationId xmlns:a16="http://schemas.microsoft.com/office/drawing/2014/main" id="{877A6068-4AC8-0C63-AE4E-0905722FE34C}"/>
                </a:ext>
              </a:extLst>
            </p:cNvPr>
            <p:cNvSpPr/>
            <p:nvPr/>
          </p:nvSpPr>
          <p:spPr>
            <a:xfrm>
              <a:off x="1436883" y="4903225"/>
              <a:ext cx="1133270" cy="1131045"/>
            </a:xfrm>
            <a:custGeom>
              <a:avLst/>
              <a:gdLst>
                <a:gd name="connsiteX0" fmla="*/ 4188954 w 4188953"/>
                <a:gd name="connsiteY0" fmla="*/ 2090388 h 4180740"/>
                <a:gd name="connsiteX1" fmla="*/ 2094477 w 4188953"/>
                <a:gd name="connsiteY1" fmla="*/ 4180740 h 4180740"/>
                <a:gd name="connsiteX2" fmla="*/ 0 w 4188953"/>
                <a:gd name="connsiteY2" fmla="*/ 2090388 h 4180740"/>
                <a:gd name="connsiteX3" fmla="*/ 2094477 w 4188953"/>
                <a:gd name="connsiteY3" fmla="*/ 0 h 4180740"/>
                <a:gd name="connsiteX4" fmla="*/ 4188954 w 4188953"/>
                <a:gd name="connsiteY4" fmla="*/ 2090388 h 4180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88953" h="4180740">
                  <a:moveTo>
                    <a:pt x="4188954" y="2090388"/>
                  </a:moveTo>
                  <a:cubicBezTo>
                    <a:pt x="4188954" y="3244870"/>
                    <a:pt x="3251218" y="4180740"/>
                    <a:pt x="2094477" y="4180740"/>
                  </a:cubicBezTo>
                  <a:cubicBezTo>
                    <a:pt x="937736" y="4180740"/>
                    <a:pt x="0" y="3244870"/>
                    <a:pt x="0" y="2090388"/>
                  </a:cubicBezTo>
                  <a:cubicBezTo>
                    <a:pt x="0" y="935906"/>
                    <a:pt x="937736" y="0"/>
                    <a:pt x="2094477" y="0"/>
                  </a:cubicBezTo>
                  <a:cubicBezTo>
                    <a:pt x="3251218" y="0"/>
                    <a:pt x="4188954" y="935906"/>
                    <a:pt x="4188954" y="2090388"/>
                  </a:cubicBezTo>
                  <a:close/>
                </a:path>
              </a:pathLst>
            </a:custGeom>
            <a:solidFill>
              <a:srgbClr val="E4EAF8"/>
            </a:solidFill>
            <a:ln w="84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371" name="Frihandsfigur: Form 370">
              <a:extLst>
                <a:ext uri="{FF2B5EF4-FFF2-40B4-BE49-F238E27FC236}">
                  <a16:creationId xmlns:a16="http://schemas.microsoft.com/office/drawing/2014/main" id="{47C6119A-15AA-AC95-3B8F-93B4AFC79B9E}"/>
                </a:ext>
              </a:extLst>
            </p:cNvPr>
            <p:cNvSpPr/>
            <p:nvPr/>
          </p:nvSpPr>
          <p:spPr>
            <a:xfrm>
              <a:off x="1436883" y="4903225"/>
              <a:ext cx="601133" cy="1131045"/>
            </a:xfrm>
            <a:custGeom>
              <a:avLst/>
              <a:gdLst>
                <a:gd name="connsiteX0" fmla="*/ 255061 w 2221991"/>
                <a:gd name="connsiteY0" fmla="*/ 2090388 h 4180740"/>
                <a:gd name="connsiteX1" fmla="*/ 2221992 w 2221991"/>
                <a:gd name="connsiteY1" fmla="*/ 3976 h 4180740"/>
                <a:gd name="connsiteX2" fmla="*/ 2094477 w 2221991"/>
                <a:gd name="connsiteY2" fmla="*/ 0 h 4180740"/>
                <a:gd name="connsiteX3" fmla="*/ 0 w 2221991"/>
                <a:gd name="connsiteY3" fmla="*/ 2090388 h 4180740"/>
                <a:gd name="connsiteX4" fmla="*/ 2094477 w 2221991"/>
                <a:gd name="connsiteY4" fmla="*/ 4180740 h 4180740"/>
                <a:gd name="connsiteX5" fmla="*/ 2221992 w 2221991"/>
                <a:gd name="connsiteY5" fmla="*/ 4176795 h 4180740"/>
                <a:gd name="connsiteX6" fmla="*/ 255061 w 2221991"/>
                <a:gd name="connsiteY6" fmla="*/ 2090388 h 4180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21991" h="4180740">
                  <a:moveTo>
                    <a:pt x="255061" y="2090388"/>
                  </a:moveTo>
                  <a:cubicBezTo>
                    <a:pt x="255061" y="978656"/>
                    <a:pt x="1124646" y="69760"/>
                    <a:pt x="2221992" y="3976"/>
                  </a:cubicBezTo>
                  <a:cubicBezTo>
                    <a:pt x="2179816" y="1446"/>
                    <a:pt x="2137311" y="0"/>
                    <a:pt x="2094477" y="0"/>
                  </a:cubicBezTo>
                  <a:cubicBezTo>
                    <a:pt x="937736" y="0"/>
                    <a:pt x="0" y="935906"/>
                    <a:pt x="0" y="2090388"/>
                  </a:cubicBezTo>
                  <a:cubicBezTo>
                    <a:pt x="0" y="3244870"/>
                    <a:pt x="937736" y="4180740"/>
                    <a:pt x="2094477" y="4180740"/>
                  </a:cubicBezTo>
                  <a:cubicBezTo>
                    <a:pt x="2137311" y="4180740"/>
                    <a:pt x="2179816" y="4179327"/>
                    <a:pt x="2221992" y="4176795"/>
                  </a:cubicBezTo>
                  <a:cubicBezTo>
                    <a:pt x="1124646" y="4110979"/>
                    <a:pt x="255061" y="3202120"/>
                    <a:pt x="255061" y="2090388"/>
                  </a:cubicBezTo>
                  <a:close/>
                </a:path>
              </a:pathLst>
            </a:custGeom>
            <a:solidFill>
              <a:srgbClr val="D8DCE5"/>
            </a:solidFill>
            <a:ln w="84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372" name="Frihandsfigur: Form 371">
              <a:extLst>
                <a:ext uri="{FF2B5EF4-FFF2-40B4-BE49-F238E27FC236}">
                  <a16:creationId xmlns:a16="http://schemas.microsoft.com/office/drawing/2014/main" id="{AD83700F-10D9-1E2D-0171-7F5597A345CA}"/>
                </a:ext>
              </a:extLst>
            </p:cNvPr>
            <p:cNvSpPr/>
            <p:nvPr/>
          </p:nvSpPr>
          <p:spPr>
            <a:xfrm>
              <a:off x="1533445" y="4999598"/>
              <a:ext cx="940145" cy="938298"/>
            </a:xfrm>
            <a:custGeom>
              <a:avLst/>
              <a:gdLst>
                <a:gd name="connsiteX0" fmla="*/ 3475099 w 3475098"/>
                <a:gd name="connsiteY0" fmla="*/ 1734159 h 3468279"/>
                <a:gd name="connsiteX1" fmla="*/ 1737551 w 3475098"/>
                <a:gd name="connsiteY1" fmla="*/ 3468279 h 3468279"/>
                <a:gd name="connsiteX2" fmla="*/ 0 w 3475098"/>
                <a:gd name="connsiteY2" fmla="*/ 1734159 h 3468279"/>
                <a:gd name="connsiteX3" fmla="*/ 1737551 w 3475098"/>
                <a:gd name="connsiteY3" fmla="*/ 0 h 3468279"/>
                <a:gd name="connsiteX4" fmla="*/ 3475099 w 3475098"/>
                <a:gd name="connsiteY4" fmla="*/ 1734159 h 3468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75097" h="3468279">
                  <a:moveTo>
                    <a:pt x="3475099" y="1734159"/>
                  </a:moveTo>
                  <a:cubicBezTo>
                    <a:pt x="3475099" y="2691875"/>
                    <a:pt x="2697150" y="3468279"/>
                    <a:pt x="1737551" y="3468279"/>
                  </a:cubicBezTo>
                  <a:cubicBezTo>
                    <a:pt x="777918" y="3468279"/>
                    <a:pt x="0" y="2691875"/>
                    <a:pt x="0" y="1734159"/>
                  </a:cubicBezTo>
                  <a:cubicBezTo>
                    <a:pt x="0" y="776401"/>
                    <a:pt x="777918" y="0"/>
                    <a:pt x="1737551" y="0"/>
                  </a:cubicBezTo>
                  <a:cubicBezTo>
                    <a:pt x="2697150" y="0"/>
                    <a:pt x="3475099" y="776401"/>
                    <a:pt x="3475099" y="1734159"/>
                  </a:cubicBezTo>
                  <a:close/>
                </a:path>
              </a:pathLst>
            </a:custGeom>
            <a:solidFill>
              <a:srgbClr val="FECA57"/>
            </a:solidFill>
            <a:ln w="84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373" name="Frihandsfigur: Form 372">
              <a:extLst>
                <a:ext uri="{FF2B5EF4-FFF2-40B4-BE49-F238E27FC236}">
                  <a16:creationId xmlns:a16="http://schemas.microsoft.com/office/drawing/2014/main" id="{202D99C5-6145-D06F-ED63-9C02DDDAD3BB}"/>
                </a:ext>
              </a:extLst>
            </p:cNvPr>
            <p:cNvSpPr/>
            <p:nvPr/>
          </p:nvSpPr>
          <p:spPr>
            <a:xfrm>
              <a:off x="1533445" y="4999598"/>
              <a:ext cx="513042" cy="938298"/>
            </a:xfrm>
            <a:custGeom>
              <a:avLst/>
              <a:gdLst>
                <a:gd name="connsiteX0" fmla="*/ 317681 w 1896377"/>
                <a:gd name="connsiteY0" fmla="*/ 1734159 h 3468279"/>
                <a:gd name="connsiteX1" fmla="*/ 1896377 w 1896377"/>
                <a:gd name="connsiteY1" fmla="*/ 7295 h 3468279"/>
                <a:gd name="connsiteX2" fmla="*/ 1737551 w 1896377"/>
                <a:gd name="connsiteY2" fmla="*/ 0 h 3468279"/>
                <a:gd name="connsiteX3" fmla="*/ 0 w 1896377"/>
                <a:gd name="connsiteY3" fmla="*/ 1734159 h 3468279"/>
                <a:gd name="connsiteX4" fmla="*/ 1737551 w 1896377"/>
                <a:gd name="connsiteY4" fmla="*/ 3468279 h 3468279"/>
                <a:gd name="connsiteX5" fmla="*/ 1896377 w 1896377"/>
                <a:gd name="connsiteY5" fmla="*/ 3461020 h 3468279"/>
                <a:gd name="connsiteX6" fmla="*/ 317681 w 1896377"/>
                <a:gd name="connsiteY6" fmla="*/ 1734159 h 3468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96377" h="3468279">
                  <a:moveTo>
                    <a:pt x="317681" y="1734159"/>
                  </a:moveTo>
                  <a:cubicBezTo>
                    <a:pt x="317681" y="829867"/>
                    <a:pt x="1011218" y="87373"/>
                    <a:pt x="1896377" y="7295"/>
                  </a:cubicBezTo>
                  <a:cubicBezTo>
                    <a:pt x="1844062" y="2530"/>
                    <a:pt x="1791114" y="0"/>
                    <a:pt x="1737551" y="0"/>
                  </a:cubicBezTo>
                  <a:cubicBezTo>
                    <a:pt x="777918" y="0"/>
                    <a:pt x="0" y="776401"/>
                    <a:pt x="0" y="1734159"/>
                  </a:cubicBezTo>
                  <a:cubicBezTo>
                    <a:pt x="0" y="2691875"/>
                    <a:pt x="777918" y="3468279"/>
                    <a:pt x="1737551" y="3468279"/>
                  </a:cubicBezTo>
                  <a:cubicBezTo>
                    <a:pt x="1791114" y="3468279"/>
                    <a:pt x="1844062" y="3465747"/>
                    <a:pt x="1896377" y="3461020"/>
                  </a:cubicBezTo>
                  <a:cubicBezTo>
                    <a:pt x="1011218" y="3380937"/>
                    <a:pt x="317681" y="2638451"/>
                    <a:pt x="317681" y="1734159"/>
                  </a:cubicBezTo>
                  <a:close/>
                </a:path>
              </a:pathLst>
            </a:custGeom>
            <a:solidFill>
              <a:srgbClr val="F4B537"/>
            </a:solidFill>
            <a:ln w="84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374" name="Frihandsfigur: Form 373">
              <a:extLst>
                <a:ext uri="{FF2B5EF4-FFF2-40B4-BE49-F238E27FC236}">
                  <a16:creationId xmlns:a16="http://schemas.microsoft.com/office/drawing/2014/main" id="{41B5DE3F-1D0E-C4E8-1317-7F0D6232C791}"/>
                </a:ext>
              </a:extLst>
            </p:cNvPr>
            <p:cNvSpPr/>
            <p:nvPr/>
          </p:nvSpPr>
          <p:spPr>
            <a:xfrm>
              <a:off x="1888599" y="5663648"/>
              <a:ext cx="229837" cy="70166"/>
            </a:xfrm>
            <a:custGeom>
              <a:avLst/>
              <a:gdLst>
                <a:gd name="connsiteX0" fmla="*/ 741108 w 849556"/>
                <a:gd name="connsiteY0" fmla="*/ 0 h 259359"/>
                <a:gd name="connsiteX1" fmla="*/ 108449 w 849556"/>
                <a:gd name="connsiteY1" fmla="*/ 0 h 259359"/>
                <a:gd name="connsiteX2" fmla="*/ 0 w 849556"/>
                <a:gd name="connsiteY2" fmla="*/ 108246 h 259359"/>
                <a:gd name="connsiteX3" fmla="*/ 0 w 849556"/>
                <a:gd name="connsiteY3" fmla="*/ 151088 h 259359"/>
                <a:gd name="connsiteX4" fmla="*/ 108449 w 849556"/>
                <a:gd name="connsiteY4" fmla="*/ 259359 h 259359"/>
                <a:gd name="connsiteX5" fmla="*/ 741108 w 849556"/>
                <a:gd name="connsiteY5" fmla="*/ 259359 h 259359"/>
                <a:gd name="connsiteX6" fmla="*/ 849557 w 849556"/>
                <a:gd name="connsiteY6" fmla="*/ 151088 h 259359"/>
                <a:gd name="connsiteX7" fmla="*/ 849557 w 849556"/>
                <a:gd name="connsiteY7" fmla="*/ 108246 h 259359"/>
                <a:gd name="connsiteX8" fmla="*/ 741108 w 849556"/>
                <a:gd name="connsiteY8" fmla="*/ 0 h 259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49556" h="259359">
                  <a:moveTo>
                    <a:pt x="741108" y="0"/>
                  </a:moveTo>
                  <a:lnTo>
                    <a:pt x="108449" y="0"/>
                  </a:lnTo>
                  <a:cubicBezTo>
                    <a:pt x="48792" y="0"/>
                    <a:pt x="0" y="48731"/>
                    <a:pt x="0" y="108246"/>
                  </a:cubicBezTo>
                  <a:lnTo>
                    <a:pt x="0" y="151088"/>
                  </a:lnTo>
                  <a:cubicBezTo>
                    <a:pt x="0" y="210628"/>
                    <a:pt x="48792" y="259359"/>
                    <a:pt x="108449" y="259359"/>
                  </a:cubicBezTo>
                  <a:lnTo>
                    <a:pt x="741108" y="259359"/>
                  </a:lnTo>
                  <a:cubicBezTo>
                    <a:pt x="800764" y="259359"/>
                    <a:pt x="849557" y="210628"/>
                    <a:pt x="849557" y="151088"/>
                  </a:cubicBezTo>
                  <a:lnTo>
                    <a:pt x="849557" y="108246"/>
                  </a:lnTo>
                  <a:cubicBezTo>
                    <a:pt x="849557" y="48731"/>
                    <a:pt x="800731" y="0"/>
                    <a:pt x="741108" y="0"/>
                  </a:cubicBezTo>
                  <a:close/>
                </a:path>
              </a:pathLst>
            </a:custGeom>
            <a:solidFill>
              <a:srgbClr val="8AC2FF"/>
            </a:solidFill>
            <a:ln w="84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375" name="Frihandsfigur: Form 374">
              <a:extLst>
                <a:ext uri="{FF2B5EF4-FFF2-40B4-BE49-F238E27FC236}">
                  <a16:creationId xmlns:a16="http://schemas.microsoft.com/office/drawing/2014/main" id="{D30FC494-6F25-B7D6-F84C-56874167BFE3}"/>
                </a:ext>
              </a:extLst>
            </p:cNvPr>
            <p:cNvSpPr/>
            <p:nvPr/>
          </p:nvSpPr>
          <p:spPr>
            <a:xfrm>
              <a:off x="1888599" y="5675214"/>
              <a:ext cx="229837" cy="58601"/>
            </a:xfrm>
            <a:custGeom>
              <a:avLst/>
              <a:gdLst>
                <a:gd name="connsiteX0" fmla="*/ 741108 w 849556"/>
                <a:gd name="connsiteY0" fmla="*/ 42724 h 216609"/>
                <a:gd name="connsiteX1" fmla="*/ 108449 w 849556"/>
                <a:gd name="connsiteY1" fmla="*/ 42724 h 216609"/>
                <a:gd name="connsiteX2" fmla="*/ 22420 w 849556"/>
                <a:gd name="connsiteY2" fmla="*/ 0 h 216609"/>
                <a:gd name="connsiteX3" fmla="*/ 0 w 849556"/>
                <a:gd name="connsiteY3" fmla="*/ 65496 h 216609"/>
                <a:gd name="connsiteX4" fmla="*/ 0 w 849556"/>
                <a:gd name="connsiteY4" fmla="*/ 108338 h 216609"/>
                <a:gd name="connsiteX5" fmla="*/ 108449 w 849556"/>
                <a:gd name="connsiteY5" fmla="*/ 216609 h 216609"/>
                <a:gd name="connsiteX6" fmla="*/ 741108 w 849556"/>
                <a:gd name="connsiteY6" fmla="*/ 216609 h 216609"/>
                <a:gd name="connsiteX7" fmla="*/ 849557 w 849556"/>
                <a:gd name="connsiteY7" fmla="*/ 108338 h 216609"/>
                <a:gd name="connsiteX8" fmla="*/ 849557 w 849556"/>
                <a:gd name="connsiteY8" fmla="*/ 65496 h 216609"/>
                <a:gd name="connsiteX9" fmla="*/ 827137 w 849556"/>
                <a:gd name="connsiteY9" fmla="*/ 0 h 216609"/>
                <a:gd name="connsiteX10" fmla="*/ 741108 w 849556"/>
                <a:gd name="connsiteY10" fmla="*/ 42724 h 216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49556" h="216609">
                  <a:moveTo>
                    <a:pt x="741108" y="42724"/>
                  </a:moveTo>
                  <a:lnTo>
                    <a:pt x="108449" y="42724"/>
                  </a:lnTo>
                  <a:cubicBezTo>
                    <a:pt x="73446" y="42724"/>
                    <a:pt x="42269" y="25900"/>
                    <a:pt x="22420" y="0"/>
                  </a:cubicBezTo>
                  <a:cubicBezTo>
                    <a:pt x="8428" y="18237"/>
                    <a:pt x="0" y="40916"/>
                    <a:pt x="0" y="65496"/>
                  </a:cubicBezTo>
                  <a:lnTo>
                    <a:pt x="0" y="108338"/>
                  </a:lnTo>
                  <a:cubicBezTo>
                    <a:pt x="0" y="167879"/>
                    <a:pt x="48792" y="216609"/>
                    <a:pt x="108449" y="216609"/>
                  </a:cubicBezTo>
                  <a:lnTo>
                    <a:pt x="741108" y="216609"/>
                  </a:lnTo>
                  <a:cubicBezTo>
                    <a:pt x="800764" y="216609"/>
                    <a:pt x="849557" y="167879"/>
                    <a:pt x="849557" y="108338"/>
                  </a:cubicBezTo>
                  <a:lnTo>
                    <a:pt x="849557" y="65496"/>
                  </a:lnTo>
                  <a:cubicBezTo>
                    <a:pt x="849557" y="40916"/>
                    <a:pt x="841128" y="18237"/>
                    <a:pt x="827137" y="0"/>
                  </a:cubicBezTo>
                  <a:cubicBezTo>
                    <a:pt x="807288" y="25900"/>
                    <a:pt x="776111" y="42724"/>
                    <a:pt x="741108" y="42724"/>
                  </a:cubicBezTo>
                  <a:close/>
                </a:path>
              </a:pathLst>
            </a:custGeom>
            <a:solidFill>
              <a:srgbClr val="6FB1FF"/>
            </a:solidFill>
            <a:ln w="84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grpSp>
          <p:nvGrpSpPr>
            <p:cNvPr id="376" name="Bild 50">
              <a:extLst>
                <a:ext uri="{FF2B5EF4-FFF2-40B4-BE49-F238E27FC236}">
                  <a16:creationId xmlns:a16="http://schemas.microsoft.com/office/drawing/2014/main" id="{66F6CF88-6837-829C-00B6-0368EDDE298C}"/>
                </a:ext>
              </a:extLst>
            </p:cNvPr>
            <p:cNvGrpSpPr/>
            <p:nvPr/>
          </p:nvGrpSpPr>
          <p:grpSpPr>
            <a:xfrm>
              <a:off x="1516343" y="4982530"/>
              <a:ext cx="974349" cy="737871"/>
              <a:chOff x="3667008" y="1761319"/>
              <a:chExt cx="3601525" cy="2727432"/>
            </a:xfrm>
            <a:solidFill>
              <a:srgbClr val="576574"/>
            </a:solidFill>
          </p:grpSpPr>
          <p:sp>
            <p:nvSpPr>
              <p:cNvPr id="410" name="Frihandsfigur: Form 409">
                <a:extLst>
                  <a:ext uri="{FF2B5EF4-FFF2-40B4-BE49-F238E27FC236}">
                    <a16:creationId xmlns:a16="http://schemas.microsoft.com/office/drawing/2014/main" id="{489DF379-F3D9-582F-5BFD-4C15BF3603BC}"/>
                  </a:ext>
                </a:extLst>
              </p:cNvPr>
              <p:cNvSpPr/>
              <p:nvPr/>
            </p:nvSpPr>
            <p:spPr>
              <a:xfrm>
                <a:off x="5404558" y="1761319"/>
                <a:ext cx="126427" cy="297607"/>
              </a:xfrm>
              <a:custGeom>
                <a:avLst/>
                <a:gdLst>
                  <a:gd name="connsiteX0" fmla="*/ 63214 w 126427"/>
                  <a:gd name="connsiteY0" fmla="*/ 0 h 297607"/>
                  <a:gd name="connsiteX1" fmla="*/ 0 w 126427"/>
                  <a:gd name="connsiteY1" fmla="*/ 63090 h 297607"/>
                  <a:gd name="connsiteX2" fmla="*/ 0 w 126427"/>
                  <a:gd name="connsiteY2" fmla="*/ 234518 h 297607"/>
                  <a:gd name="connsiteX3" fmla="*/ 63214 w 126427"/>
                  <a:gd name="connsiteY3" fmla="*/ 297608 h 297607"/>
                  <a:gd name="connsiteX4" fmla="*/ 126427 w 126427"/>
                  <a:gd name="connsiteY4" fmla="*/ 234518 h 297607"/>
                  <a:gd name="connsiteX5" fmla="*/ 126427 w 126427"/>
                  <a:gd name="connsiteY5" fmla="*/ 63090 h 297607"/>
                  <a:gd name="connsiteX6" fmla="*/ 63214 w 126427"/>
                  <a:gd name="connsiteY6" fmla="*/ 0 h 297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6427" h="297607">
                    <a:moveTo>
                      <a:pt x="63214" y="0"/>
                    </a:moveTo>
                    <a:cubicBezTo>
                      <a:pt x="28278" y="0"/>
                      <a:pt x="0" y="28259"/>
                      <a:pt x="0" y="63090"/>
                    </a:cubicBezTo>
                    <a:lnTo>
                      <a:pt x="0" y="234518"/>
                    </a:lnTo>
                    <a:cubicBezTo>
                      <a:pt x="0" y="269349"/>
                      <a:pt x="28278" y="297608"/>
                      <a:pt x="63214" y="297608"/>
                    </a:cubicBezTo>
                    <a:cubicBezTo>
                      <a:pt x="98116" y="297608"/>
                      <a:pt x="126427" y="269349"/>
                      <a:pt x="126427" y="234518"/>
                    </a:cubicBezTo>
                    <a:lnTo>
                      <a:pt x="126427" y="63090"/>
                    </a:lnTo>
                    <a:cubicBezTo>
                      <a:pt x="126427" y="28259"/>
                      <a:pt x="98116" y="0"/>
                      <a:pt x="63214" y="0"/>
                    </a:cubicBezTo>
                    <a:close/>
                  </a:path>
                </a:pathLst>
              </a:custGeom>
              <a:solidFill>
                <a:srgbClr val="576574"/>
              </a:solidFill>
              <a:ln w="842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sv-SE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514350" fontAlgn="auto">
                  <a:spcBef>
                    <a:spcPts val="0"/>
                  </a:spcBef>
                  <a:spcAft>
                    <a:spcPts val="0"/>
                  </a:spcAft>
                </a:pPr>
                <a:endParaRPr lang="sv-SE" sz="76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411" name="Frihandsfigur: Form 410">
                <a:extLst>
                  <a:ext uri="{FF2B5EF4-FFF2-40B4-BE49-F238E27FC236}">
                    <a16:creationId xmlns:a16="http://schemas.microsoft.com/office/drawing/2014/main" id="{2C21F2E9-037F-2E7E-BD74-DF7113A6E1BE}"/>
                  </a:ext>
                </a:extLst>
              </p:cNvPr>
              <p:cNvSpPr/>
              <p:nvPr/>
            </p:nvSpPr>
            <p:spPr>
              <a:xfrm>
                <a:off x="4535765" y="1993634"/>
                <a:ext cx="212338" cy="274664"/>
              </a:xfrm>
              <a:custGeom>
                <a:avLst/>
                <a:gdLst>
                  <a:gd name="connsiteX0" fmla="*/ 117968 w 212338"/>
                  <a:gd name="connsiteY0" fmla="*/ 31546 h 274664"/>
                  <a:gd name="connsiteX1" fmla="*/ 31610 w 212338"/>
                  <a:gd name="connsiteY1" fmla="*/ 8479 h 274664"/>
                  <a:gd name="connsiteX2" fmla="*/ 8499 w 212338"/>
                  <a:gd name="connsiteY2" fmla="*/ 94669 h 274664"/>
                  <a:gd name="connsiteX3" fmla="*/ 94360 w 212338"/>
                  <a:gd name="connsiteY3" fmla="*/ 243095 h 274664"/>
                  <a:gd name="connsiteX4" fmla="*/ 180718 w 212338"/>
                  <a:gd name="connsiteY4" fmla="*/ 266194 h 274664"/>
                  <a:gd name="connsiteX5" fmla="*/ 203863 w 212338"/>
                  <a:gd name="connsiteY5" fmla="*/ 180005 h 274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12338" h="274664">
                    <a:moveTo>
                      <a:pt x="117968" y="31546"/>
                    </a:moveTo>
                    <a:cubicBezTo>
                      <a:pt x="100521" y="1382"/>
                      <a:pt x="61868" y="-8969"/>
                      <a:pt x="31610" y="8479"/>
                    </a:cubicBezTo>
                    <a:cubicBezTo>
                      <a:pt x="1385" y="25894"/>
                      <a:pt x="-8990" y="64472"/>
                      <a:pt x="8499" y="94669"/>
                    </a:cubicBezTo>
                    <a:lnTo>
                      <a:pt x="94360" y="243095"/>
                    </a:lnTo>
                    <a:cubicBezTo>
                      <a:pt x="111840" y="273328"/>
                      <a:pt x="150527" y="283607"/>
                      <a:pt x="180718" y="266194"/>
                    </a:cubicBezTo>
                    <a:cubicBezTo>
                      <a:pt x="210943" y="248781"/>
                      <a:pt x="221318" y="210170"/>
                      <a:pt x="203863" y="180005"/>
                    </a:cubicBezTo>
                    <a:close/>
                  </a:path>
                </a:pathLst>
              </a:custGeom>
              <a:solidFill>
                <a:srgbClr val="576574"/>
              </a:solidFill>
              <a:ln w="842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sv-SE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514350" fontAlgn="auto">
                  <a:spcBef>
                    <a:spcPts val="0"/>
                  </a:spcBef>
                  <a:spcAft>
                    <a:spcPts val="0"/>
                  </a:spcAft>
                </a:pPr>
                <a:endParaRPr lang="sv-SE" sz="76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412" name="Frihandsfigur: Form 411">
                <a:extLst>
                  <a:ext uri="{FF2B5EF4-FFF2-40B4-BE49-F238E27FC236}">
                    <a16:creationId xmlns:a16="http://schemas.microsoft.com/office/drawing/2014/main" id="{EE4A1312-27C9-1034-DBAE-4B59BDF7FFD4}"/>
                  </a:ext>
                </a:extLst>
              </p:cNvPr>
              <p:cNvSpPr/>
              <p:nvPr/>
            </p:nvSpPr>
            <p:spPr>
              <a:xfrm>
                <a:off x="3899793" y="2628378"/>
                <a:ext cx="275180" cy="211922"/>
              </a:xfrm>
              <a:custGeom>
                <a:avLst/>
                <a:gdLst>
                  <a:gd name="connsiteX0" fmla="*/ 31625 w 275180"/>
                  <a:gd name="connsiteY0" fmla="*/ 117740 h 211922"/>
                  <a:gd name="connsiteX1" fmla="*/ 180341 w 275180"/>
                  <a:gd name="connsiteY1" fmla="*/ 203467 h 211922"/>
                  <a:gd name="connsiteX2" fmla="*/ 266698 w 275180"/>
                  <a:gd name="connsiteY2" fmla="*/ 180368 h 211922"/>
                  <a:gd name="connsiteX3" fmla="*/ 243555 w 275180"/>
                  <a:gd name="connsiteY3" fmla="*/ 94178 h 211922"/>
                  <a:gd name="connsiteX4" fmla="*/ 94839 w 275180"/>
                  <a:gd name="connsiteY4" fmla="*/ 8476 h 211922"/>
                  <a:gd name="connsiteX5" fmla="*/ 8480 w 275180"/>
                  <a:gd name="connsiteY5" fmla="*/ 31551 h 211922"/>
                  <a:gd name="connsiteX6" fmla="*/ 31625 w 275180"/>
                  <a:gd name="connsiteY6" fmla="*/ 117740 h 211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5180" h="211922">
                    <a:moveTo>
                      <a:pt x="31625" y="117740"/>
                    </a:moveTo>
                    <a:lnTo>
                      <a:pt x="180341" y="203467"/>
                    </a:lnTo>
                    <a:cubicBezTo>
                      <a:pt x="210599" y="220880"/>
                      <a:pt x="249251" y="210533"/>
                      <a:pt x="266698" y="180368"/>
                    </a:cubicBezTo>
                    <a:cubicBezTo>
                      <a:pt x="284153" y="150168"/>
                      <a:pt x="273812" y="111591"/>
                      <a:pt x="243555" y="94178"/>
                    </a:cubicBezTo>
                    <a:lnTo>
                      <a:pt x="94839" y="8476"/>
                    </a:lnTo>
                    <a:cubicBezTo>
                      <a:pt x="64581" y="-8970"/>
                      <a:pt x="25929" y="1385"/>
                      <a:pt x="8480" y="31551"/>
                    </a:cubicBezTo>
                    <a:cubicBezTo>
                      <a:pt x="-8970" y="61741"/>
                      <a:pt x="1368" y="100319"/>
                      <a:pt x="31625" y="117740"/>
                    </a:cubicBezTo>
                    <a:close/>
                  </a:path>
                </a:pathLst>
              </a:custGeom>
              <a:solidFill>
                <a:srgbClr val="576574"/>
              </a:solidFill>
              <a:ln w="842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sv-SE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514350" fontAlgn="auto">
                  <a:spcBef>
                    <a:spcPts val="0"/>
                  </a:spcBef>
                  <a:spcAft>
                    <a:spcPts val="0"/>
                  </a:spcAft>
                </a:pPr>
                <a:endParaRPr lang="sv-SE" sz="76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413" name="Frihandsfigur: Form 412">
                <a:extLst>
                  <a:ext uri="{FF2B5EF4-FFF2-40B4-BE49-F238E27FC236}">
                    <a16:creationId xmlns:a16="http://schemas.microsoft.com/office/drawing/2014/main" id="{0FF34ACF-921B-CB44-BE88-6F9D9FF690D9}"/>
                  </a:ext>
                </a:extLst>
              </p:cNvPr>
              <p:cNvSpPr/>
              <p:nvPr/>
            </p:nvSpPr>
            <p:spPr>
              <a:xfrm>
                <a:off x="6760554" y="4276806"/>
                <a:ext cx="275123" cy="211945"/>
              </a:xfrm>
              <a:custGeom>
                <a:avLst/>
                <a:gdLst>
                  <a:gd name="connsiteX0" fmla="*/ 243569 w 275123"/>
                  <a:gd name="connsiteY0" fmla="*/ 94177 h 211945"/>
                  <a:gd name="connsiteX1" fmla="*/ 94857 w 275123"/>
                  <a:gd name="connsiteY1" fmla="*/ 8476 h 211945"/>
                  <a:gd name="connsiteX2" fmla="*/ 8499 w 275123"/>
                  <a:gd name="connsiteY2" fmla="*/ 31575 h 211945"/>
                  <a:gd name="connsiteX3" fmla="*/ 31610 w 275123"/>
                  <a:gd name="connsiteY3" fmla="*/ 117739 h 211945"/>
                  <a:gd name="connsiteX4" fmla="*/ 211929 w 275123"/>
                  <a:gd name="connsiteY4" fmla="*/ 211945 h 211945"/>
                  <a:gd name="connsiteX5" fmla="*/ 243569 w 275123"/>
                  <a:gd name="connsiteY5" fmla="*/ 94177 h 2119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5123" h="211945">
                    <a:moveTo>
                      <a:pt x="243569" y="94177"/>
                    </a:moveTo>
                    <a:lnTo>
                      <a:pt x="94857" y="8476"/>
                    </a:lnTo>
                    <a:cubicBezTo>
                      <a:pt x="64599" y="-8971"/>
                      <a:pt x="25946" y="1384"/>
                      <a:pt x="8499" y="31575"/>
                    </a:cubicBezTo>
                    <a:cubicBezTo>
                      <a:pt x="-8990" y="61740"/>
                      <a:pt x="1385" y="100318"/>
                      <a:pt x="31610" y="117739"/>
                    </a:cubicBezTo>
                    <a:cubicBezTo>
                      <a:pt x="192274" y="210330"/>
                      <a:pt x="189442" y="211945"/>
                      <a:pt x="211929" y="211945"/>
                    </a:cubicBezTo>
                    <a:cubicBezTo>
                      <a:pt x="276128" y="211945"/>
                      <a:pt x="299543" y="126446"/>
                      <a:pt x="243569" y="94177"/>
                    </a:cubicBezTo>
                    <a:close/>
                  </a:path>
                </a:pathLst>
              </a:custGeom>
              <a:solidFill>
                <a:srgbClr val="576574"/>
              </a:solidFill>
              <a:ln w="842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sv-SE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514350" fontAlgn="auto">
                  <a:spcBef>
                    <a:spcPts val="0"/>
                  </a:spcBef>
                  <a:spcAft>
                    <a:spcPts val="0"/>
                  </a:spcAft>
                </a:pPr>
                <a:endParaRPr lang="sv-SE" sz="76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414" name="Frihandsfigur: Form 413">
                <a:extLst>
                  <a:ext uri="{FF2B5EF4-FFF2-40B4-BE49-F238E27FC236}">
                    <a16:creationId xmlns:a16="http://schemas.microsoft.com/office/drawing/2014/main" id="{94F8AB33-3DAE-362F-CB75-2407612127ED}"/>
                  </a:ext>
                </a:extLst>
              </p:cNvPr>
              <p:cNvSpPr/>
              <p:nvPr/>
            </p:nvSpPr>
            <p:spPr>
              <a:xfrm>
                <a:off x="3667008" y="3495478"/>
                <a:ext cx="298190" cy="126180"/>
              </a:xfrm>
              <a:custGeom>
                <a:avLst/>
                <a:gdLst>
                  <a:gd name="connsiteX0" fmla="*/ 298190 w 298190"/>
                  <a:gd name="connsiteY0" fmla="*/ 63090 h 126180"/>
                  <a:gd name="connsiteX1" fmla="*/ 234977 w 298190"/>
                  <a:gd name="connsiteY1" fmla="*/ 0 h 126180"/>
                  <a:gd name="connsiteX2" fmla="*/ 63214 w 298190"/>
                  <a:gd name="connsiteY2" fmla="*/ 0 h 126180"/>
                  <a:gd name="connsiteX3" fmla="*/ 0 w 298190"/>
                  <a:gd name="connsiteY3" fmla="*/ 63090 h 126180"/>
                  <a:gd name="connsiteX4" fmla="*/ 63214 w 298190"/>
                  <a:gd name="connsiteY4" fmla="*/ 126180 h 126180"/>
                  <a:gd name="connsiteX5" fmla="*/ 234977 w 298190"/>
                  <a:gd name="connsiteY5" fmla="*/ 126180 h 126180"/>
                  <a:gd name="connsiteX6" fmla="*/ 298190 w 298190"/>
                  <a:gd name="connsiteY6" fmla="*/ 63090 h 126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98190" h="126178">
                    <a:moveTo>
                      <a:pt x="298190" y="63090"/>
                    </a:moveTo>
                    <a:cubicBezTo>
                      <a:pt x="298190" y="28222"/>
                      <a:pt x="269876" y="0"/>
                      <a:pt x="234977" y="0"/>
                    </a:cubicBezTo>
                    <a:lnTo>
                      <a:pt x="63214" y="0"/>
                    </a:lnTo>
                    <a:cubicBezTo>
                      <a:pt x="28315" y="0"/>
                      <a:pt x="0" y="28222"/>
                      <a:pt x="0" y="63090"/>
                    </a:cubicBezTo>
                    <a:cubicBezTo>
                      <a:pt x="0" y="97916"/>
                      <a:pt x="28315" y="126180"/>
                      <a:pt x="63214" y="126180"/>
                    </a:cubicBezTo>
                    <a:lnTo>
                      <a:pt x="234977" y="126180"/>
                    </a:lnTo>
                    <a:cubicBezTo>
                      <a:pt x="269876" y="126180"/>
                      <a:pt x="298190" y="97916"/>
                      <a:pt x="298190" y="63090"/>
                    </a:cubicBezTo>
                    <a:close/>
                  </a:path>
                </a:pathLst>
              </a:custGeom>
              <a:solidFill>
                <a:srgbClr val="576574"/>
              </a:solidFill>
              <a:ln w="842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sv-SE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514350" fontAlgn="auto">
                  <a:spcBef>
                    <a:spcPts val="0"/>
                  </a:spcBef>
                  <a:spcAft>
                    <a:spcPts val="0"/>
                  </a:spcAft>
                </a:pPr>
                <a:endParaRPr lang="sv-SE" sz="76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415" name="Frihandsfigur: Form 414">
                <a:extLst>
                  <a:ext uri="{FF2B5EF4-FFF2-40B4-BE49-F238E27FC236}">
                    <a16:creationId xmlns:a16="http://schemas.microsoft.com/office/drawing/2014/main" id="{43A8B529-2AB5-06C2-4F8A-51E7B6A17C17}"/>
                  </a:ext>
                </a:extLst>
              </p:cNvPr>
              <p:cNvSpPr/>
              <p:nvPr/>
            </p:nvSpPr>
            <p:spPr>
              <a:xfrm>
                <a:off x="6970342" y="3495478"/>
                <a:ext cx="298191" cy="126180"/>
              </a:xfrm>
              <a:custGeom>
                <a:avLst/>
                <a:gdLst>
                  <a:gd name="connsiteX0" fmla="*/ 234978 w 298191"/>
                  <a:gd name="connsiteY0" fmla="*/ 0 h 126180"/>
                  <a:gd name="connsiteX1" fmla="*/ 63214 w 298191"/>
                  <a:gd name="connsiteY1" fmla="*/ 0 h 126180"/>
                  <a:gd name="connsiteX2" fmla="*/ 0 w 298191"/>
                  <a:gd name="connsiteY2" fmla="*/ 63090 h 126180"/>
                  <a:gd name="connsiteX3" fmla="*/ 63214 w 298191"/>
                  <a:gd name="connsiteY3" fmla="*/ 126180 h 126180"/>
                  <a:gd name="connsiteX4" fmla="*/ 234978 w 298191"/>
                  <a:gd name="connsiteY4" fmla="*/ 126180 h 126180"/>
                  <a:gd name="connsiteX5" fmla="*/ 298191 w 298191"/>
                  <a:gd name="connsiteY5" fmla="*/ 63090 h 126180"/>
                  <a:gd name="connsiteX6" fmla="*/ 234978 w 298191"/>
                  <a:gd name="connsiteY6" fmla="*/ 0 h 126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98191" h="126178">
                    <a:moveTo>
                      <a:pt x="234978" y="0"/>
                    </a:moveTo>
                    <a:lnTo>
                      <a:pt x="63214" y="0"/>
                    </a:lnTo>
                    <a:cubicBezTo>
                      <a:pt x="28320" y="0"/>
                      <a:pt x="0" y="28222"/>
                      <a:pt x="0" y="63090"/>
                    </a:cubicBezTo>
                    <a:cubicBezTo>
                      <a:pt x="0" y="97916"/>
                      <a:pt x="28320" y="126180"/>
                      <a:pt x="63214" y="126180"/>
                    </a:cubicBezTo>
                    <a:lnTo>
                      <a:pt x="234978" y="126180"/>
                    </a:lnTo>
                    <a:cubicBezTo>
                      <a:pt x="269880" y="126180"/>
                      <a:pt x="298191" y="97916"/>
                      <a:pt x="298191" y="63090"/>
                    </a:cubicBezTo>
                    <a:cubicBezTo>
                      <a:pt x="298191" y="28222"/>
                      <a:pt x="269880" y="0"/>
                      <a:pt x="234978" y="0"/>
                    </a:cubicBezTo>
                    <a:close/>
                  </a:path>
                </a:pathLst>
              </a:custGeom>
              <a:solidFill>
                <a:srgbClr val="576574"/>
              </a:solidFill>
              <a:ln w="842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sv-SE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514350" fontAlgn="auto">
                  <a:spcBef>
                    <a:spcPts val="0"/>
                  </a:spcBef>
                  <a:spcAft>
                    <a:spcPts val="0"/>
                  </a:spcAft>
                </a:pPr>
                <a:endParaRPr lang="sv-SE" sz="76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416" name="Frihandsfigur: Form 415">
                <a:extLst>
                  <a:ext uri="{FF2B5EF4-FFF2-40B4-BE49-F238E27FC236}">
                    <a16:creationId xmlns:a16="http://schemas.microsoft.com/office/drawing/2014/main" id="{EEE0B955-06FD-0E76-B09E-51A797301229}"/>
                  </a:ext>
                </a:extLst>
              </p:cNvPr>
              <p:cNvSpPr/>
              <p:nvPr/>
            </p:nvSpPr>
            <p:spPr>
              <a:xfrm>
                <a:off x="3899793" y="4276821"/>
                <a:ext cx="275180" cy="211913"/>
              </a:xfrm>
              <a:custGeom>
                <a:avLst/>
                <a:gdLst>
                  <a:gd name="connsiteX0" fmla="*/ 180341 w 275180"/>
                  <a:gd name="connsiteY0" fmla="*/ 8461 h 211913"/>
                  <a:gd name="connsiteX1" fmla="*/ 31625 w 275180"/>
                  <a:gd name="connsiteY1" fmla="*/ 94162 h 211913"/>
                  <a:gd name="connsiteX2" fmla="*/ 8480 w 275180"/>
                  <a:gd name="connsiteY2" fmla="*/ 180352 h 211913"/>
                  <a:gd name="connsiteX3" fmla="*/ 94839 w 275180"/>
                  <a:gd name="connsiteY3" fmla="*/ 203451 h 211913"/>
                  <a:gd name="connsiteX4" fmla="*/ 243555 w 275180"/>
                  <a:gd name="connsiteY4" fmla="*/ 117724 h 211913"/>
                  <a:gd name="connsiteX5" fmla="*/ 266698 w 275180"/>
                  <a:gd name="connsiteY5" fmla="*/ 31560 h 211913"/>
                  <a:gd name="connsiteX6" fmla="*/ 180341 w 275180"/>
                  <a:gd name="connsiteY6" fmla="*/ 8461 h 211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5180" h="211911">
                    <a:moveTo>
                      <a:pt x="180341" y="8461"/>
                    </a:moveTo>
                    <a:lnTo>
                      <a:pt x="31625" y="94162"/>
                    </a:lnTo>
                    <a:cubicBezTo>
                      <a:pt x="1368" y="111609"/>
                      <a:pt x="-8970" y="150186"/>
                      <a:pt x="8480" y="180352"/>
                    </a:cubicBezTo>
                    <a:cubicBezTo>
                      <a:pt x="25929" y="210551"/>
                      <a:pt x="64581" y="220864"/>
                      <a:pt x="94839" y="203451"/>
                    </a:cubicBezTo>
                    <a:lnTo>
                      <a:pt x="243555" y="117724"/>
                    </a:lnTo>
                    <a:cubicBezTo>
                      <a:pt x="273812" y="100303"/>
                      <a:pt x="284153" y="61726"/>
                      <a:pt x="266698" y="31560"/>
                    </a:cubicBezTo>
                    <a:cubicBezTo>
                      <a:pt x="249251" y="1369"/>
                      <a:pt x="210566" y="-8952"/>
                      <a:pt x="180341" y="8461"/>
                    </a:cubicBezTo>
                    <a:close/>
                  </a:path>
                </a:pathLst>
              </a:custGeom>
              <a:solidFill>
                <a:srgbClr val="576574"/>
              </a:solidFill>
              <a:ln w="842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sv-SE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514350" fontAlgn="auto">
                  <a:spcBef>
                    <a:spcPts val="0"/>
                  </a:spcBef>
                  <a:spcAft>
                    <a:spcPts val="0"/>
                  </a:spcAft>
                </a:pPr>
                <a:endParaRPr lang="sv-SE" sz="76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417" name="Frihandsfigur: Form 416">
                <a:extLst>
                  <a:ext uri="{FF2B5EF4-FFF2-40B4-BE49-F238E27FC236}">
                    <a16:creationId xmlns:a16="http://schemas.microsoft.com/office/drawing/2014/main" id="{21128D37-7853-D8A4-F0FD-A4A146491B8D}"/>
                  </a:ext>
                </a:extLst>
              </p:cNvPr>
              <p:cNvSpPr/>
              <p:nvPr/>
            </p:nvSpPr>
            <p:spPr>
              <a:xfrm>
                <a:off x="6760544" y="2628378"/>
                <a:ext cx="275199" cy="211922"/>
              </a:xfrm>
              <a:custGeom>
                <a:avLst/>
                <a:gdLst>
                  <a:gd name="connsiteX0" fmla="*/ 94834 w 275199"/>
                  <a:gd name="connsiteY0" fmla="*/ 203467 h 211922"/>
                  <a:gd name="connsiteX1" fmla="*/ 243579 w 275199"/>
                  <a:gd name="connsiteY1" fmla="*/ 117740 h 211922"/>
                  <a:gd name="connsiteX2" fmla="*/ 266724 w 275199"/>
                  <a:gd name="connsiteY2" fmla="*/ 31551 h 211922"/>
                  <a:gd name="connsiteX3" fmla="*/ 180366 w 275199"/>
                  <a:gd name="connsiteY3" fmla="*/ 8476 h 211922"/>
                  <a:gd name="connsiteX4" fmla="*/ 31620 w 275199"/>
                  <a:gd name="connsiteY4" fmla="*/ 94178 h 211922"/>
                  <a:gd name="connsiteX5" fmla="*/ 8475 w 275199"/>
                  <a:gd name="connsiteY5" fmla="*/ 180368 h 211922"/>
                  <a:gd name="connsiteX6" fmla="*/ 94834 w 275199"/>
                  <a:gd name="connsiteY6" fmla="*/ 203467 h 211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5199" h="211922">
                    <a:moveTo>
                      <a:pt x="94834" y="203467"/>
                    </a:moveTo>
                    <a:lnTo>
                      <a:pt x="243579" y="117740"/>
                    </a:lnTo>
                    <a:cubicBezTo>
                      <a:pt x="273804" y="100319"/>
                      <a:pt x="284179" y="61741"/>
                      <a:pt x="266724" y="31551"/>
                    </a:cubicBezTo>
                    <a:cubicBezTo>
                      <a:pt x="249277" y="1385"/>
                      <a:pt x="210590" y="-8970"/>
                      <a:pt x="180366" y="8476"/>
                    </a:cubicBezTo>
                    <a:lnTo>
                      <a:pt x="31620" y="94178"/>
                    </a:lnTo>
                    <a:cubicBezTo>
                      <a:pt x="1395" y="111591"/>
                      <a:pt x="-8980" y="150168"/>
                      <a:pt x="8475" y="180368"/>
                    </a:cubicBezTo>
                    <a:cubicBezTo>
                      <a:pt x="25956" y="210533"/>
                      <a:pt x="64609" y="220880"/>
                      <a:pt x="94834" y="203467"/>
                    </a:cubicBezTo>
                    <a:close/>
                  </a:path>
                </a:pathLst>
              </a:custGeom>
              <a:solidFill>
                <a:srgbClr val="576574"/>
              </a:solidFill>
              <a:ln w="842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sv-SE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514350" fontAlgn="auto">
                  <a:spcBef>
                    <a:spcPts val="0"/>
                  </a:spcBef>
                  <a:spcAft>
                    <a:spcPts val="0"/>
                  </a:spcAft>
                </a:pPr>
                <a:endParaRPr lang="sv-SE" sz="76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418" name="Frihandsfigur: Form 417">
                <a:extLst>
                  <a:ext uri="{FF2B5EF4-FFF2-40B4-BE49-F238E27FC236}">
                    <a16:creationId xmlns:a16="http://schemas.microsoft.com/office/drawing/2014/main" id="{57C9B745-0067-0B61-8BED-6FA72A156D52}"/>
                  </a:ext>
                </a:extLst>
              </p:cNvPr>
              <p:cNvSpPr/>
              <p:nvPr/>
            </p:nvSpPr>
            <p:spPr>
              <a:xfrm>
                <a:off x="6187441" y="1993634"/>
                <a:ext cx="212314" cy="274656"/>
              </a:xfrm>
              <a:custGeom>
                <a:avLst/>
                <a:gdLst>
                  <a:gd name="connsiteX0" fmla="*/ 180695 w 212314"/>
                  <a:gd name="connsiteY0" fmla="*/ 8479 h 274656"/>
                  <a:gd name="connsiteX1" fmla="*/ 94336 w 212314"/>
                  <a:gd name="connsiteY1" fmla="*/ 31546 h 274656"/>
                  <a:gd name="connsiteX2" fmla="*/ 8475 w 212314"/>
                  <a:gd name="connsiteY2" fmla="*/ 180005 h 274656"/>
                  <a:gd name="connsiteX3" fmla="*/ 31620 w 212314"/>
                  <a:gd name="connsiteY3" fmla="*/ 266194 h 274656"/>
                  <a:gd name="connsiteX4" fmla="*/ 117978 w 212314"/>
                  <a:gd name="connsiteY4" fmla="*/ 243095 h 274656"/>
                  <a:gd name="connsiteX5" fmla="*/ 203839 w 212314"/>
                  <a:gd name="connsiteY5" fmla="*/ 94669 h 274656"/>
                  <a:gd name="connsiteX6" fmla="*/ 180695 w 212314"/>
                  <a:gd name="connsiteY6" fmla="*/ 8479 h 274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2312" h="274656">
                    <a:moveTo>
                      <a:pt x="180695" y="8479"/>
                    </a:moveTo>
                    <a:cubicBezTo>
                      <a:pt x="150470" y="-8969"/>
                      <a:pt x="111817" y="1382"/>
                      <a:pt x="94336" y="31546"/>
                    </a:cubicBezTo>
                    <a:lnTo>
                      <a:pt x="8475" y="180005"/>
                    </a:lnTo>
                    <a:cubicBezTo>
                      <a:pt x="-8980" y="210170"/>
                      <a:pt x="1395" y="248781"/>
                      <a:pt x="31620" y="266194"/>
                    </a:cubicBezTo>
                    <a:cubicBezTo>
                      <a:pt x="61844" y="283607"/>
                      <a:pt x="100523" y="273294"/>
                      <a:pt x="117978" y="243095"/>
                    </a:cubicBezTo>
                    <a:lnTo>
                      <a:pt x="203839" y="94669"/>
                    </a:lnTo>
                    <a:cubicBezTo>
                      <a:pt x="221294" y="64472"/>
                      <a:pt x="210919" y="25894"/>
                      <a:pt x="180695" y="8479"/>
                    </a:cubicBezTo>
                    <a:close/>
                  </a:path>
                </a:pathLst>
              </a:custGeom>
              <a:solidFill>
                <a:srgbClr val="576574"/>
              </a:solidFill>
              <a:ln w="842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sv-SE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514350" fontAlgn="auto">
                  <a:spcBef>
                    <a:spcPts val="0"/>
                  </a:spcBef>
                  <a:spcAft>
                    <a:spcPts val="0"/>
                  </a:spcAft>
                </a:pPr>
                <a:endParaRPr lang="sv-SE" sz="76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</p:grpSp>
        <p:sp>
          <p:nvSpPr>
            <p:cNvPr id="377" name="Frihandsfigur: Form 376">
              <a:extLst>
                <a:ext uri="{FF2B5EF4-FFF2-40B4-BE49-F238E27FC236}">
                  <a16:creationId xmlns:a16="http://schemas.microsoft.com/office/drawing/2014/main" id="{AD6AA148-A551-B04F-B594-84757B64B35F}"/>
                </a:ext>
              </a:extLst>
            </p:cNvPr>
            <p:cNvSpPr/>
            <p:nvPr/>
          </p:nvSpPr>
          <p:spPr>
            <a:xfrm>
              <a:off x="1516343" y="4982530"/>
              <a:ext cx="974349" cy="972443"/>
            </a:xfrm>
            <a:custGeom>
              <a:avLst/>
              <a:gdLst>
                <a:gd name="connsiteX0" fmla="*/ 1800764 w 3601525"/>
                <a:gd name="connsiteY0" fmla="*/ 3594493 h 3594493"/>
                <a:gd name="connsiteX1" fmla="*/ 0 w 3601525"/>
                <a:gd name="connsiteY1" fmla="*/ 1797249 h 3594493"/>
                <a:gd name="connsiteX2" fmla="*/ 1800764 w 3601525"/>
                <a:gd name="connsiteY2" fmla="*/ 0 h 3594493"/>
                <a:gd name="connsiteX3" fmla="*/ 3601526 w 3601525"/>
                <a:gd name="connsiteY3" fmla="*/ 1797249 h 3594493"/>
                <a:gd name="connsiteX4" fmla="*/ 1800764 w 3601525"/>
                <a:gd name="connsiteY4" fmla="*/ 3594493 h 3594493"/>
                <a:gd name="connsiteX5" fmla="*/ 1800764 w 3601525"/>
                <a:gd name="connsiteY5" fmla="*/ 126180 h 3594493"/>
                <a:gd name="connsiteX6" fmla="*/ 126427 w 3601525"/>
                <a:gd name="connsiteY6" fmla="*/ 1797249 h 3594493"/>
                <a:gd name="connsiteX7" fmla="*/ 1800764 w 3601525"/>
                <a:gd name="connsiteY7" fmla="*/ 3468313 h 3594493"/>
                <a:gd name="connsiteX8" fmla="*/ 3475065 w 3601525"/>
                <a:gd name="connsiteY8" fmla="*/ 1797249 h 3594493"/>
                <a:gd name="connsiteX9" fmla="*/ 1800764 w 3601525"/>
                <a:gd name="connsiteY9" fmla="*/ 126180 h 3594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01524" h="3594493">
                  <a:moveTo>
                    <a:pt x="1800764" y="3594493"/>
                  </a:moveTo>
                  <a:cubicBezTo>
                    <a:pt x="807814" y="3594493"/>
                    <a:pt x="0" y="2788252"/>
                    <a:pt x="0" y="1797249"/>
                  </a:cubicBezTo>
                  <a:cubicBezTo>
                    <a:pt x="0" y="806238"/>
                    <a:pt x="807814" y="0"/>
                    <a:pt x="1800764" y="0"/>
                  </a:cubicBezTo>
                  <a:cubicBezTo>
                    <a:pt x="2793715" y="0"/>
                    <a:pt x="3601526" y="806238"/>
                    <a:pt x="3601526" y="1797249"/>
                  </a:cubicBezTo>
                  <a:cubicBezTo>
                    <a:pt x="3601526" y="2788252"/>
                    <a:pt x="2793715" y="3594493"/>
                    <a:pt x="1800764" y="3594493"/>
                  </a:cubicBezTo>
                  <a:close/>
                  <a:moveTo>
                    <a:pt x="1800764" y="126180"/>
                  </a:moveTo>
                  <a:cubicBezTo>
                    <a:pt x="877517" y="126180"/>
                    <a:pt x="126427" y="875839"/>
                    <a:pt x="126427" y="1797249"/>
                  </a:cubicBezTo>
                  <a:cubicBezTo>
                    <a:pt x="126427" y="2718659"/>
                    <a:pt x="877517" y="3468313"/>
                    <a:pt x="1800764" y="3468313"/>
                  </a:cubicBezTo>
                  <a:cubicBezTo>
                    <a:pt x="2723978" y="3468313"/>
                    <a:pt x="3475065" y="2718659"/>
                    <a:pt x="3475065" y="1797249"/>
                  </a:cubicBezTo>
                  <a:cubicBezTo>
                    <a:pt x="3475065" y="875805"/>
                    <a:pt x="2723978" y="126180"/>
                    <a:pt x="1800764" y="126180"/>
                  </a:cubicBezTo>
                  <a:close/>
                </a:path>
              </a:pathLst>
            </a:custGeom>
            <a:solidFill>
              <a:srgbClr val="E59D1F"/>
            </a:solidFill>
            <a:ln w="84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378" name="Frihandsfigur: Form 377">
              <a:extLst>
                <a:ext uri="{FF2B5EF4-FFF2-40B4-BE49-F238E27FC236}">
                  <a16:creationId xmlns:a16="http://schemas.microsoft.com/office/drawing/2014/main" id="{A7A368E8-B648-93C9-4257-23FA9CA41070}"/>
                </a:ext>
              </a:extLst>
            </p:cNvPr>
            <p:cNvSpPr/>
            <p:nvPr/>
          </p:nvSpPr>
          <p:spPr>
            <a:xfrm>
              <a:off x="1436883" y="4903225"/>
              <a:ext cx="1133270" cy="1131045"/>
            </a:xfrm>
            <a:custGeom>
              <a:avLst/>
              <a:gdLst>
                <a:gd name="connsiteX0" fmla="*/ 4188954 w 4188953"/>
                <a:gd name="connsiteY0" fmla="*/ 2090388 h 4180740"/>
                <a:gd name="connsiteX1" fmla="*/ 2094477 w 4188953"/>
                <a:gd name="connsiteY1" fmla="*/ 4180740 h 4180740"/>
                <a:gd name="connsiteX2" fmla="*/ 0 w 4188953"/>
                <a:gd name="connsiteY2" fmla="*/ 2090388 h 4180740"/>
                <a:gd name="connsiteX3" fmla="*/ 2094477 w 4188953"/>
                <a:gd name="connsiteY3" fmla="*/ 0 h 4180740"/>
                <a:gd name="connsiteX4" fmla="*/ 4188954 w 4188953"/>
                <a:gd name="connsiteY4" fmla="*/ 2090388 h 4180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88953" h="4180740">
                  <a:moveTo>
                    <a:pt x="4188954" y="2090388"/>
                  </a:moveTo>
                  <a:cubicBezTo>
                    <a:pt x="4188954" y="3244870"/>
                    <a:pt x="3251218" y="4180740"/>
                    <a:pt x="2094477" y="4180740"/>
                  </a:cubicBezTo>
                  <a:cubicBezTo>
                    <a:pt x="937736" y="4180740"/>
                    <a:pt x="0" y="3244870"/>
                    <a:pt x="0" y="2090388"/>
                  </a:cubicBezTo>
                  <a:cubicBezTo>
                    <a:pt x="0" y="935906"/>
                    <a:pt x="937736" y="0"/>
                    <a:pt x="2094477" y="0"/>
                  </a:cubicBezTo>
                  <a:cubicBezTo>
                    <a:pt x="3251218" y="0"/>
                    <a:pt x="4188954" y="935906"/>
                    <a:pt x="4188954" y="2090388"/>
                  </a:cubicBezTo>
                  <a:close/>
                </a:path>
              </a:pathLst>
            </a:custGeom>
            <a:solidFill>
              <a:schemeClr val="accent1"/>
            </a:solidFill>
            <a:ln w="84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379" name="Frihandsfigur: Form 378">
              <a:extLst>
                <a:ext uri="{FF2B5EF4-FFF2-40B4-BE49-F238E27FC236}">
                  <a16:creationId xmlns:a16="http://schemas.microsoft.com/office/drawing/2014/main" id="{166C30F1-D7D8-D8C6-86D2-E330922B06BC}"/>
                </a:ext>
              </a:extLst>
            </p:cNvPr>
            <p:cNvSpPr/>
            <p:nvPr/>
          </p:nvSpPr>
          <p:spPr>
            <a:xfrm>
              <a:off x="1436883" y="4903225"/>
              <a:ext cx="601133" cy="1131045"/>
            </a:xfrm>
            <a:custGeom>
              <a:avLst/>
              <a:gdLst>
                <a:gd name="connsiteX0" fmla="*/ 255061 w 2221991"/>
                <a:gd name="connsiteY0" fmla="*/ 2090388 h 4180740"/>
                <a:gd name="connsiteX1" fmla="*/ 2221992 w 2221991"/>
                <a:gd name="connsiteY1" fmla="*/ 3976 h 4180740"/>
                <a:gd name="connsiteX2" fmla="*/ 2094477 w 2221991"/>
                <a:gd name="connsiteY2" fmla="*/ 0 h 4180740"/>
                <a:gd name="connsiteX3" fmla="*/ 0 w 2221991"/>
                <a:gd name="connsiteY3" fmla="*/ 2090388 h 4180740"/>
                <a:gd name="connsiteX4" fmla="*/ 2094477 w 2221991"/>
                <a:gd name="connsiteY4" fmla="*/ 4180740 h 4180740"/>
                <a:gd name="connsiteX5" fmla="*/ 2221992 w 2221991"/>
                <a:gd name="connsiteY5" fmla="*/ 4176795 h 4180740"/>
                <a:gd name="connsiteX6" fmla="*/ 255061 w 2221991"/>
                <a:gd name="connsiteY6" fmla="*/ 2090388 h 4180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21991" h="4180740">
                  <a:moveTo>
                    <a:pt x="255061" y="2090388"/>
                  </a:moveTo>
                  <a:cubicBezTo>
                    <a:pt x="255061" y="978656"/>
                    <a:pt x="1124646" y="69760"/>
                    <a:pt x="2221992" y="3976"/>
                  </a:cubicBezTo>
                  <a:cubicBezTo>
                    <a:pt x="2179816" y="1446"/>
                    <a:pt x="2137311" y="0"/>
                    <a:pt x="2094477" y="0"/>
                  </a:cubicBezTo>
                  <a:cubicBezTo>
                    <a:pt x="937736" y="0"/>
                    <a:pt x="0" y="935906"/>
                    <a:pt x="0" y="2090388"/>
                  </a:cubicBezTo>
                  <a:cubicBezTo>
                    <a:pt x="0" y="3244870"/>
                    <a:pt x="937736" y="4180740"/>
                    <a:pt x="2094477" y="4180740"/>
                  </a:cubicBezTo>
                  <a:cubicBezTo>
                    <a:pt x="2137311" y="4180740"/>
                    <a:pt x="2179816" y="4179327"/>
                    <a:pt x="2221992" y="4176795"/>
                  </a:cubicBezTo>
                  <a:cubicBezTo>
                    <a:pt x="1124646" y="4110979"/>
                    <a:pt x="255061" y="3202120"/>
                    <a:pt x="255061" y="2090388"/>
                  </a:cubicBezTo>
                  <a:close/>
                </a:path>
              </a:pathLst>
            </a:custGeom>
            <a:solidFill>
              <a:srgbClr val="000000">
                <a:alpha val="25098"/>
              </a:srgbClr>
            </a:solidFill>
            <a:ln w="84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380" name="Frihandsfigur: Form 379">
              <a:extLst>
                <a:ext uri="{FF2B5EF4-FFF2-40B4-BE49-F238E27FC236}">
                  <a16:creationId xmlns:a16="http://schemas.microsoft.com/office/drawing/2014/main" id="{AD551D1F-BD1D-BC3B-92F2-FDB8D88BC0B8}"/>
                </a:ext>
              </a:extLst>
            </p:cNvPr>
            <p:cNvSpPr/>
            <p:nvPr/>
          </p:nvSpPr>
          <p:spPr>
            <a:xfrm>
              <a:off x="1533445" y="4999598"/>
              <a:ext cx="940145" cy="938298"/>
            </a:xfrm>
            <a:custGeom>
              <a:avLst/>
              <a:gdLst>
                <a:gd name="connsiteX0" fmla="*/ 3475099 w 3475098"/>
                <a:gd name="connsiteY0" fmla="*/ 1734159 h 3468279"/>
                <a:gd name="connsiteX1" fmla="*/ 1737551 w 3475098"/>
                <a:gd name="connsiteY1" fmla="*/ 3468279 h 3468279"/>
                <a:gd name="connsiteX2" fmla="*/ 0 w 3475098"/>
                <a:gd name="connsiteY2" fmla="*/ 1734159 h 3468279"/>
                <a:gd name="connsiteX3" fmla="*/ 1737551 w 3475098"/>
                <a:gd name="connsiteY3" fmla="*/ 0 h 3468279"/>
                <a:gd name="connsiteX4" fmla="*/ 3475099 w 3475098"/>
                <a:gd name="connsiteY4" fmla="*/ 1734159 h 3468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75097" h="3468279">
                  <a:moveTo>
                    <a:pt x="3475099" y="1734159"/>
                  </a:moveTo>
                  <a:cubicBezTo>
                    <a:pt x="3475099" y="2691875"/>
                    <a:pt x="2697150" y="3468279"/>
                    <a:pt x="1737551" y="3468279"/>
                  </a:cubicBezTo>
                  <a:cubicBezTo>
                    <a:pt x="777918" y="3468279"/>
                    <a:pt x="0" y="2691875"/>
                    <a:pt x="0" y="1734159"/>
                  </a:cubicBezTo>
                  <a:cubicBezTo>
                    <a:pt x="0" y="776401"/>
                    <a:pt x="777918" y="0"/>
                    <a:pt x="1737551" y="0"/>
                  </a:cubicBezTo>
                  <a:cubicBezTo>
                    <a:pt x="2697150" y="0"/>
                    <a:pt x="3475099" y="776401"/>
                    <a:pt x="3475099" y="1734159"/>
                  </a:cubicBezTo>
                  <a:close/>
                </a:path>
              </a:pathLst>
            </a:custGeom>
            <a:solidFill>
              <a:srgbClr val="F8F8F8"/>
            </a:solidFill>
            <a:ln w="84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381" name="Frihandsfigur: Form 380">
              <a:extLst>
                <a:ext uri="{FF2B5EF4-FFF2-40B4-BE49-F238E27FC236}">
                  <a16:creationId xmlns:a16="http://schemas.microsoft.com/office/drawing/2014/main" id="{59B19D38-E0FB-1920-E1C6-600D5A7C71AC}"/>
                </a:ext>
              </a:extLst>
            </p:cNvPr>
            <p:cNvSpPr/>
            <p:nvPr/>
          </p:nvSpPr>
          <p:spPr>
            <a:xfrm>
              <a:off x="1533445" y="4999598"/>
              <a:ext cx="513042" cy="938298"/>
            </a:xfrm>
            <a:custGeom>
              <a:avLst/>
              <a:gdLst>
                <a:gd name="connsiteX0" fmla="*/ 317681 w 1896377"/>
                <a:gd name="connsiteY0" fmla="*/ 1734159 h 3468279"/>
                <a:gd name="connsiteX1" fmla="*/ 1896377 w 1896377"/>
                <a:gd name="connsiteY1" fmla="*/ 7295 h 3468279"/>
                <a:gd name="connsiteX2" fmla="*/ 1737551 w 1896377"/>
                <a:gd name="connsiteY2" fmla="*/ 0 h 3468279"/>
                <a:gd name="connsiteX3" fmla="*/ 0 w 1896377"/>
                <a:gd name="connsiteY3" fmla="*/ 1734159 h 3468279"/>
                <a:gd name="connsiteX4" fmla="*/ 1737551 w 1896377"/>
                <a:gd name="connsiteY4" fmla="*/ 3468279 h 3468279"/>
                <a:gd name="connsiteX5" fmla="*/ 1896377 w 1896377"/>
                <a:gd name="connsiteY5" fmla="*/ 3461020 h 3468279"/>
                <a:gd name="connsiteX6" fmla="*/ 317681 w 1896377"/>
                <a:gd name="connsiteY6" fmla="*/ 1734159 h 3468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96377" h="3468279">
                  <a:moveTo>
                    <a:pt x="317681" y="1734159"/>
                  </a:moveTo>
                  <a:cubicBezTo>
                    <a:pt x="317681" y="829867"/>
                    <a:pt x="1011218" y="87373"/>
                    <a:pt x="1896377" y="7295"/>
                  </a:cubicBezTo>
                  <a:cubicBezTo>
                    <a:pt x="1844062" y="2530"/>
                    <a:pt x="1791114" y="0"/>
                    <a:pt x="1737551" y="0"/>
                  </a:cubicBezTo>
                  <a:cubicBezTo>
                    <a:pt x="777918" y="0"/>
                    <a:pt x="0" y="776401"/>
                    <a:pt x="0" y="1734159"/>
                  </a:cubicBezTo>
                  <a:cubicBezTo>
                    <a:pt x="0" y="2691875"/>
                    <a:pt x="777918" y="3468279"/>
                    <a:pt x="1737551" y="3468279"/>
                  </a:cubicBezTo>
                  <a:cubicBezTo>
                    <a:pt x="1791114" y="3468279"/>
                    <a:pt x="1844062" y="3465747"/>
                    <a:pt x="1896377" y="3461020"/>
                  </a:cubicBezTo>
                  <a:cubicBezTo>
                    <a:pt x="1011218" y="3380937"/>
                    <a:pt x="317681" y="2638451"/>
                    <a:pt x="317681" y="1734159"/>
                  </a:cubicBezTo>
                  <a:close/>
                </a:path>
              </a:pathLst>
            </a:custGeom>
            <a:solidFill>
              <a:srgbClr val="CFCFCF"/>
            </a:solidFill>
            <a:ln w="84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382" name="Frihandsfigur: Form 381">
              <a:extLst>
                <a:ext uri="{FF2B5EF4-FFF2-40B4-BE49-F238E27FC236}">
                  <a16:creationId xmlns:a16="http://schemas.microsoft.com/office/drawing/2014/main" id="{B7A17532-AA73-C749-DCE7-D05000F6EFCB}"/>
                </a:ext>
              </a:extLst>
            </p:cNvPr>
            <p:cNvSpPr/>
            <p:nvPr/>
          </p:nvSpPr>
          <p:spPr>
            <a:xfrm>
              <a:off x="1888599" y="5663648"/>
              <a:ext cx="229837" cy="70166"/>
            </a:xfrm>
            <a:custGeom>
              <a:avLst/>
              <a:gdLst>
                <a:gd name="connsiteX0" fmla="*/ 741108 w 849556"/>
                <a:gd name="connsiteY0" fmla="*/ 0 h 259359"/>
                <a:gd name="connsiteX1" fmla="*/ 108449 w 849556"/>
                <a:gd name="connsiteY1" fmla="*/ 0 h 259359"/>
                <a:gd name="connsiteX2" fmla="*/ 0 w 849556"/>
                <a:gd name="connsiteY2" fmla="*/ 108246 h 259359"/>
                <a:gd name="connsiteX3" fmla="*/ 0 w 849556"/>
                <a:gd name="connsiteY3" fmla="*/ 151088 h 259359"/>
                <a:gd name="connsiteX4" fmla="*/ 108449 w 849556"/>
                <a:gd name="connsiteY4" fmla="*/ 259359 h 259359"/>
                <a:gd name="connsiteX5" fmla="*/ 741108 w 849556"/>
                <a:gd name="connsiteY5" fmla="*/ 259359 h 259359"/>
                <a:gd name="connsiteX6" fmla="*/ 849557 w 849556"/>
                <a:gd name="connsiteY6" fmla="*/ 151088 h 259359"/>
                <a:gd name="connsiteX7" fmla="*/ 849557 w 849556"/>
                <a:gd name="connsiteY7" fmla="*/ 108246 h 259359"/>
                <a:gd name="connsiteX8" fmla="*/ 741108 w 849556"/>
                <a:gd name="connsiteY8" fmla="*/ 0 h 259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49556" h="259359">
                  <a:moveTo>
                    <a:pt x="741108" y="0"/>
                  </a:moveTo>
                  <a:lnTo>
                    <a:pt x="108449" y="0"/>
                  </a:lnTo>
                  <a:cubicBezTo>
                    <a:pt x="48792" y="0"/>
                    <a:pt x="0" y="48731"/>
                    <a:pt x="0" y="108246"/>
                  </a:cubicBezTo>
                  <a:lnTo>
                    <a:pt x="0" y="151088"/>
                  </a:lnTo>
                  <a:cubicBezTo>
                    <a:pt x="0" y="210628"/>
                    <a:pt x="48792" y="259359"/>
                    <a:pt x="108449" y="259359"/>
                  </a:cubicBezTo>
                  <a:lnTo>
                    <a:pt x="741108" y="259359"/>
                  </a:lnTo>
                  <a:cubicBezTo>
                    <a:pt x="800764" y="259359"/>
                    <a:pt x="849557" y="210628"/>
                    <a:pt x="849557" y="151088"/>
                  </a:cubicBezTo>
                  <a:lnTo>
                    <a:pt x="849557" y="108246"/>
                  </a:lnTo>
                  <a:cubicBezTo>
                    <a:pt x="849557" y="48731"/>
                    <a:pt x="800731" y="0"/>
                    <a:pt x="741108" y="0"/>
                  </a:cubicBezTo>
                  <a:close/>
                </a:path>
              </a:pathLst>
            </a:custGeom>
            <a:solidFill>
              <a:srgbClr val="CFCFCF"/>
            </a:solidFill>
            <a:ln w="84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383" name="Frihandsfigur: Form 382">
              <a:extLst>
                <a:ext uri="{FF2B5EF4-FFF2-40B4-BE49-F238E27FC236}">
                  <a16:creationId xmlns:a16="http://schemas.microsoft.com/office/drawing/2014/main" id="{B45FED07-E085-D0C0-B4FE-6D72394531D6}"/>
                </a:ext>
              </a:extLst>
            </p:cNvPr>
            <p:cNvSpPr/>
            <p:nvPr/>
          </p:nvSpPr>
          <p:spPr>
            <a:xfrm>
              <a:off x="1888599" y="5675214"/>
              <a:ext cx="229837" cy="58601"/>
            </a:xfrm>
            <a:custGeom>
              <a:avLst/>
              <a:gdLst>
                <a:gd name="connsiteX0" fmla="*/ 741108 w 849556"/>
                <a:gd name="connsiteY0" fmla="*/ 42724 h 216609"/>
                <a:gd name="connsiteX1" fmla="*/ 108449 w 849556"/>
                <a:gd name="connsiteY1" fmla="*/ 42724 h 216609"/>
                <a:gd name="connsiteX2" fmla="*/ 22420 w 849556"/>
                <a:gd name="connsiteY2" fmla="*/ 0 h 216609"/>
                <a:gd name="connsiteX3" fmla="*/ 0 w 849556"/>
                <a:gd name="connsiteY3" fmla="*/ 65496 h 216609"/>
                <a:gd name="connsiteX4" fmla="*/ 0 w 849556"/>
                <a:gd name="connsiteY4" fmla="*/ 108338 h 216609"/>
                <a:gd name="connsiteX5" fmla="*/ 108449 w 849556"/>
                <a:gd name="connsiteY5" fmla="*/ 216609 h 216609"/>
                <a:gd name="connsiteX6" fmla="*/ 741108 w 849556"/>
                <a:gd name="connsiteY6" fmla="*/ 216609 h 216609"/>
                <a:gd name="connsiteX7" fmla="*/ 849557 w 849556"/>
                <a:gd name="connsiteY7" fmla="*/ 108338 h 216609"/>
                <a:gd name="connsiteX8" fmla="*/ 849557 w 849556"/>
                <a:gd name="connsiteY8" fmla="*/ 65496 h 216609"/>
                <a:gd name="connsiteX9" fmla="*/ 827137 w 849556"/>
                <a:gd name="connsiteY9" fmla="*/ 0 h 216609"/>
                <a:gd name="connsiteX10" fmla="*/ 741108 w 849556"/>
                <a:gd name="connsiteY10" fmla="*/ 42724 h 216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49556" h="216609">
                  <a:moveTo>
                    <a:pt x="741108" y="42724"/>
                  </a:moveTo>
                  <a:lnTo>
                    <a:pt x="108449" y="42724"/>
                  </a:lnTo>
                  <a:cubicBezTo>
                    <a:pt x="73446" y="42724"/>
                    <a:pt x="42269" y="25900"/>
                    <a:pt x="22420" y="0"/>
                  </a:cubicBezTo>
                  <a:cubicBezTo>
                    <a:pt x="8428" y="18237"/>
                    <a:pt x="0" y="40916"/>
                    <a:pt x="0" y="65496"/>
                  </a:cubicBezTo>
                  <a:lnTo>
                    <a:pt x="0" y="108338"/>
                  </a:lnTo>
                  <a:cubicBezTo>
                    <a:pt x="0" y="167879"/>
                    <a:pt x="48792" y="216609"/>
                    <a:pt x="108449" y="216609"/>
                  </a:cubicBezTo>
                  <a:lnTo>
                    <a:pt x="741108" y="216609"/>
                  </a:lnTo>
                  <a:cubicBezTo>
                    <a:pt x="800764" y="216609"/>
                    <a:pt x="849557" y="167879"/>
                    <a:pt x="849557" y="108338"/>
                  </a:cubicBezTo>
                  <a:lnTo>
                    <a:pt x="849557" y="65496"/>
                  </a:lnTo>
                  <a:cubicBezTo>
                    <a:pt x="849557" y="40916"/>
                    <a:pt x="841128" y="18237"/>
                    <a:pt x="827137" y="0"/>
                  </a:cubicBezTo>
                  <a:cubicBezTo>
                    <a:pt x="807288" y="25900"/>
                    <a:pt x="776111" y="42724"/>
                    <a:pt x="741108" y="42724"/>
                  </a:cubicBezTo>
                  <a:close/>
                </a:path>
              </a:pathLst>
            </a:custGeom>
            <a:solidFill>
              <a:srgbClr val="CFCFCF"/>
            </a:solidFill>
            <a:ln w="84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384" name="Frihandsfigur: Form 383">
              <a:extLst>
                <a:ext uri="{FF2B5EF4-FFF2-40B4-BE49-F238E27FC236}">
                  <a16:creationId xmlns:a16="http://schemas.microsoft.com/office/drawing/2014/main" id="{8926D02F-5A17-43F2-8BB7-CD27E101CCF3}"/>
                </a:ext>
              </a:extLst>
            </p:cNvPr>
            <p:cNvSpPr/>
            <p:nvPr/>
          </p:nvSpPr>
          <p:spPr>
            <a:xfrm>
              <a:off x="1515577" y="4981463"/>
              <a:ext cx="974348" cy="972443"/>
            </a:xfrm>
            <a:custGeom>
              <a:avLst/>
              <a:gdLst>
                <a:gd name="connsiteX0" fmla="*/ 1800764 w 3601524"/>
                <a:gd name="connsiteY0" fmla="*/ 0 h 3594490"/>
                <a:gd name="connsiteX1" fmla="*/ 0 w 3601524"/>
                <a:gd name="connsiteY1" fmla="*/ 1797247 h 3594490"/>
                <a:gd name="connsiteX2" fmla="*/ 1800764 w 3601524"/>
                <a:gd name="connsiteY2" fmla="*/ 3594491 h 3594490"/>
                <a:gd name="connsiteX3" fmla="*/ 3601525 w 3601524"/>
                <a:gd name="connsiteY3" fmla="*/ 1797247 h 3594490"/>
                <a:gd name="connsiteX4" fmla="*/ 1800764 w 3601524"/>
                <a:gd name="connsiteY4" fmla="*/ 0 h 3594490"/>
                <a:gd name="connsiteX5" fmla="*/ 3473749 w 3601524"/>
                <a:gd name="connsiteY5" fmla="*/ 1734156 h 3594490"/>
                <a:gd name="connsiteX6" fmla="*/ 3366547 w 3601524"/>
                <a:gd name="connsiteY6" fmla="*/ 1734156 h 3594490"/>
                <a:gd name="connsiteX7" fmla="*/ 3303334 w 3601524"/>
                <a:gd name="connsiteY7" fmla="*/ 1797247 h 3594490"/>
                <a:gd name="connsiteX8" fmla="*/ 3366547 w 3601524"/>
                <a:gd name="connsiteY8" fmla="*/ 1860337 h 3594490"/>
                <a:gd name="connsiteX9" fmla="*/ 3473749 w 3601524"/>
                <a:gd name="connsiteY9" fmla="*/ 1860337 h 3594490"/>
                <a:gd name="connsiteX10" fmla="*/ 3281049 w 3601524"/>
                <a:gd name="connsiteY10" fmla="*/ 2577360 h 3594490"/>
                <a:gd name="connsiteX11" fmla="*/ 3188369 w 3601524"/>
                <a:gd name="connsiteY11" fmla="*/ 2523969 h 3594490"/>
                <a:gd name="connsiteX12" fmla="*/ 3102011 w 3601524"/>
                <a:gd name="connsiteY12" fmla="*/ 2547068 h 3594490"/>
                <a:gd name="connsiteX13" fmla="*/ 3125156 w 3601524"/>
                <a:gd name="connsiteY13" fmla="*/ 2633258 h 3594490"/>
                <a:gd name="connsiteX14" fmla="*/ 3217633 w 3601524"/>
                <a:gd name="connsiteY14" fmla="*/ 2686556 h 3594490"/>
                <a:gd name="connsiteX15" fmla="*/ 1800764 w 3601524"/>
                <a:gd name="connsiteY15" fmla="*/ 3468310 h 3594490"/>
                <a:gd name="connsiteX16" fmla="*/ 383857 w 3601524"/>
                <a:gd name="connsiteY16" fmla="*/ 2686556 h 3594490"/>
                <a:gd name="connsiteX17" fmla="*/ 476340 w 3601524"/>
                <a:gd name="connsiteY17" fmla="*/ 2633258 h 3594490"/>
                <a:gd name="connsiteX18" fmla="*/ 499483 w 3601524"/>
                <a:gd name="connsiteY18" fmla="*/ 2547068 h 3594490"/>
                <a:gd name="connsiteX19" fmla="*/ 413127 w 3601524"/>
                <a:gd name="connsiteY19" fmla="*/ 2523969 h 3594490"/>
                <a:gd name="connsiteX20" fmla="*/ 320479 w 3601524"/>
                <a:gd name="connsiteY20" fmla="*/ 2577360 h 3594490"/>
                <a:gd name="connsiteX21" fmla="*/ 127744 w 3601524"/>
                <a:gd name="connsiteY21" fmla="*/ 1860337 h 3594490"/>
                <a:gd name="connsiteX22" fmla="*/ 234977 w 3601524"/>
                <a:gd name="connsiteY22" fmla="*/ 1860337 h 3594490"/>
                <a:gd name="connsiteX23" fmla="*/ 298190 w 3601524"/>
                <a:gd name="connsiteY23" fmla="*/ 1797247 h 3594490"/>
                <a:gd name="connsiteX24" fmla="*/ 234977 w 3601524"/>
                <a:gd name="connsiteY24" fmla="*/ 1734156 h 3594490"/>
                <a:gd name="connsiteX25" fmla="*/ 127744 w 3601524"/>
                <a:gd name="connsiteY25" fmla="*/ 1734156 h 3594490"/>
                <a:gd name="connsiteX26" fmla="*/ 320479 w 3601524"/>
                <a:gd name="connsiteY26" fmla="*/ 1017133 h 3594490"/>
                <a:gd name="connsiteX27" fmla="*/ 413127 w 3601524"/>
                <a:gd name="connsiteY27" fmla="*/ 1070524 h 3594490"/>
                <a:gd name="connsiteX28" fmla="*/ 499483 w 3601524"/>
                <a:gd name="connsiteY28" fmla="*/ 1047425 h 3594490"/>
                <a:gd name="connsiteX29" fmla="*/ 476340 w 3601524"/>
                <a:gd name="connsiteY29" fmla="*/ 961235 h 3594490"/>
                <a:gd name="connsiteX30" fmla="*/ 383857 w 3601524"/>
                <a:gd name="connsiteY30" fmla="*/ 907937 h 3594490"/>
                <a:gd name="connsiteX31" fmla="*/ 909713 w 3601524"/>
                <a:gd name="connsiteY31" fmla="*/ 383108 h 3594490"/>
                <a:gd name="connsiteX32" fmla="*/ 963116 w 3601524"/>
                <a:gd name="connsiteY32" fmla="*/ 475410 h 3594490"/>
                <a:gd name="connsiteX33" fmla="*/ 1049475 w 3601524"/>
                <a:gd name="connsiteY33" fmla="*/ 498507 h 3594490"/>
                <a:gd name="connsiteX34" fmla="*/ 1072619 w 3601524"/>
                <a:gd name="connsiteY34" fmla="*/ 412320 h 3594490"/>
                <a:gd name="connsiteX35" fmla="*/ 1019123 w 3601524"/>
                <a:gd name="connsiteY35" fmla="*/ 319853 h 3594490"/>
                <a:gd name="connsiteX36" fmla="*/ 1737550 w 3601524"/>
                <a:gd name="connsiteY36" fmla="*/ 127494 h 3594490"/>
                <a:gd name="connsiteX37" fmla="*/ 1737550 w 3601524"/>
                <a:gd name="connsiteY37" fmla="*/ 234518 h 3594490"/>
                <a:gd name="connsiteX38" fmla="*/ 1800764 w 3601524"/>
                <a:gd name="connsiteY38" fmla="*/ 297608 h 3594490"/>
                <a:gd name="connsiteX39" fmla="*/ 1863977 w 3601524"/>
                <a:gd name="connsiteY39" fmla="*/ 234518 h 3594490"/>
                <a:gd name="connsiteX40" fmla="*/ 1863977 w 3601524"/>
                <a:gd name="connsiteY40" fmla="*/ 127494 h 3594490"/>
                <a:gd name="connsiteX41" fmla="*/ 2582404 w 3601524"/>
                <a:gd name="connsiteY41" fmla="*/ 319853 h 3594490"/>
                <a:gd name="connsiteX42" fmla="*/ 2528908 w 3601524"/>
                <a:gd name="connsiteY42" fmla="*/ 412320 h 3594490"/>
                <a:gd name="connsiteX43" fmla="*/ 2552053 w 3601524"/>
                <a:gd name="connsiteY43" fmla="*/ 498507 h 3594490"/>
                <a:gd name="connsiteX44" fmla="*/ 2638411 w 3601524"/>
                <a:gd name="connsiteY44" fmla="*/ 475410 h 3594490"/>
                <a:gd name="connsiteX45" fmla="*/ 2691780 w 3601524"/>
                <a:gd name="connsiteY45" fmla="*/ 383108 h 3594490"/>
                <a:gd name="connsiteX46" fmla="*/ 3217633 w 3601524"/>
                <a:gd name="connsiteY46" fmla="*/ 907937 h 3594490"/>
                <a:gd name="connsiteX47" fmla="*/ 3125156 w 3601524"/>
                <a:gd name="connsiteY47" fmla="*/ 961235 h 3594490"/>
                <a:gd name="connsiteX48" fmla="*/ 3102011 w 3601524"/>
                <a:gd name="connsiteY48" fmla="*/ 1047425 h 3594490"/>
                <a:gd name="connsiteX49" fmla="*/ 3188369 w 3601524"/>
                <a:gd name="connsiteY49" fmla="*/ 1070524 h 3594490"/>
                <a:gd name="connsiteX50" fmla="*/ 3281049 w 3601524"/>
                <a:gd name="connsiteY50" fmla="*/ 1017133 h 3594490"/>
                <a:gd name="connsiteX51" fmla="*/ 3473749 w 3601524"/>
                <a:gd name="connsiteY51" fmla="*/ 1734156 h 3594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3601524" h="3594490">
                  <a:moveTo>
                    <a:pt x="1800764" y="0"/>
                  </a:moveTo>
                  <a:cubicBezTo>
                    <a:pt x="805478" y="0"/>
                    <a:pt x="0" y="803838"/>
                    <a:pt x="0" y="1797247"/>
                  </a:cubicBezTo>
                  <a:cubicBezTo>
                    <a:pt x="0" y="2790588"/>
                    <a:pt x="805377" y="3594491"/>
                    <a:pt x="1800764" y="3594491"/>
                  </a:cubicBezTo>
                  <a:cubicBezTo>
                    <a:pt x="2791540" y="3594491"/>
                    <a:pt x="3601525" y="2790226"/>
                    <a:pt x="3601525" y="1797247"/>
                  </a:cubicBezTo>
                  <a:cubicBezTo>
                    <a:pt x="3601525" y="810837"/>
                    <a:pt x="2800364" y="0"/>
                    <a:pt x="1800764" y="0"/>
                  </a:cubicBezTo>
                  <a:close/>
                  <a:moveTo>
                    <a:pt x="3473749" y="1734156"/>
                  </a:moveTo>
                  <a:lnTo>
                    <a:pt x="3366547" y="1734156"/>
                  </a:lnTo>
                  <a:cubicBezTo>
                    <a:pt x="3331620" y="1734156"/>
                    <a:pt x="3303334" y="1762379"/>
                    <a:pt x="3303334" y="1797247"/>
                  </a:cubicBezTo>
                  <a:cubicBezTo>
                    <a:pt x="3303334" y="1832081"/>
                    <a:pt x="3331620" y="1860337"/>
                    <a:pt x="3366547" y="1860337"/>
                  </a:cubicBezTo>
                  <a:lnTo>
                    <a:pt x="3473749" y="1860337"/>
                  </a:lnTo>
                  <a:cubicBezTo>
                    <a:pt x="3464107" y="2118485"/>
                    <a:pt x="3395524" y="2361836"/>
                    <a:pt x="3281049" y="2577360"/>
                  </a:cubicBezTo>
                  <a:lnTo>
                    <a:pt x="3188369" y="2523969"/>
                  </a:lnTo>
                  <a:cubicBezTo>
                    <a:pt x="3158145" y="2506548"/>
                    <a:pt x="3119458" y="2516869"/>
                    <a:pt x="3102011" y="2547068"/>
                  </a:cubicBezTo>
                  <a:cubicBezTo>
                    <a:pt x="3084556" y="2577234"/>
                    <a:pt x="3094931" y="2615811"/>
                    <a:pt x="3125156" y="2633258"/>
                  </a:cubicBezTo>
                  <a:lnTo>
                    <a:pt x="3217633" y="2686556"/>
                  </a:lnTo>
                  <a:cubicBezTo>
                    <a:pt x="2920866" y="3155854"/>
                    <a:pt x="2396716" y="3468310"/>
                    <a:pt x="1800764" y="3468310"/>
                  </a:cubicBezTo>
                  <a:cubicBezTo>
                    <a:pt x="1204778" y="3468310"/>
                    <a:pt x="680636" y="3155854"/>
                    <a:pt x="383857" y="2686556"/>
                  </a:cubicBezTo>
                  <a:lnTo>
                    <a:pt x="476340" y="2633258"/>
                  </a:lnTo>
                  <a:cubicBezTo>
                    <a:pt x="506596" y="2615811"/>
                    <a:pt x="516938" y="2577234"/>
                    <a:pt x="499483" y="2547068"/>
                  </a:cubicBezTo>
                  <a:cubicBezTo>
                    <a:pt x="482036" y="2516869"/>
                    <a:pt x="443351" y="2506548"/>
                    <a:pt x="413127" y="2523969"/>
                  </a:cubicBezTo>
                  <a:lnTo>
                    <a:pt x="320479" y="2577360"/>
                  </a:lnTo>
                  <a:cubicBezTo>
                    <a:pt x="205971" y="2361836"/>
                    <a:pt x="137390" y="2118485"/>
                    <a:pt x="127744" y="1860337"/>
                  </a:cubicBezTo>
                  <a:lnTo>
                    <a:pt x="234977" y="1860337"/>
                  </a:lnTo>
                  <a:cubicBezTo>
                    <a:pt x="269876" y="1860337"/>
                    <a:pt x="298190" y="1832081"/>
                    <a:pt x="298190" y="1797247"/>
                  </a:cubicBezTo>
                  <a:cubicBezTo>
                    <a:pt x="298190" y="1762379"/>
                    <a:pt x="269876" y="1734156"/>
                    <a:pt x="234977" y="1734156"/>
                  </a:cubicBezTo>
                  <a:lnTo>
                    <a:pt x="127744" y="1734156"/>
                  </a:lnTo>
                  <a:cubicBezTo>
                    <a:pt x="137390" y="1475983"/>
                    <a:pt x="205971" y="1232657"/>
                    <a:pt x="320479" y="1017133"/>
                  </a:cubicBezTo>
                  <a:lnTo>
                    <a:pt x="413127" y="1070524"/>
                  </a:lnTo>
                  <a:cubicBezTo>
                    <a:pt x="443416" y="1087945"/>
                    <a:pt x="482069" y="1077557"/>
                    <a:pt x="499483" y="1047425"/>
                  </a:cubicBezTo>
                  <a:cubicBezTo>
                    <a:pt x="516938" y="1017259"/>
                    <a:pt x="506596" y="978656"/>
                    <a:pt x="476340" y="961235"/>
                  </a:cubicBezTo>
                  <a:lnTo>
                    <a:pt x="383857" y="907937"/>
                  </a:lnTo>
                  <a:cubicBezTo>
                    <a:pt x="517663" y="696324"/>
                    <a:pt x="697687" y="516652"/>
                    <a:pt x="909713" y="383108"/>
                  </a:cubicBezTo>
                  <a:lnTo>
                    <a:pt x="963116" y="475410"/>
                  </a:lnTo>
                  <a:cubicBezTo>
                    <a:pt x="980597" y="505640"/>
                    <a:pt x="1019284" y="515928"/>
                    <a:pt x="1049475" y="498507"/>
                  </a:cubicBezTo>
                  <a:cubicBezTo>
                    <a:pt x="1079699" y="481095"/>
                    <a:pt x="1090074" y="442517"/>
                    <a:pt x="1072619" y="412320"/>
                  </a:cubicBezTo>
                  <a:lnTo>
                    <a:pt x="1019123" y="319853"/>
                  </a:lnTo>
                  <a:cubicBezTo>
                    <a:pt x="1235070" y="205569"/>
                    <a:pt x="1478872" y="137122"/>
                    <a:pt x="1737550" y="127494"/>
                  </a:cubicBezTo>
                  <a:lnTo>
                    <a:pt x="1737550" y="234518"/>
                  </a:lnTo>
                  <a:cubicBezTo>
                    <a:pt x="1737550" y="269349"/>
                    <a:pt x="1765828" y="297608"/>
                    <a:pt x="1800764" y="297608"/>
                  </a:cubicBezTo>
                  <a:cubicBezTo>
                    <a:pt x="1835666" y="297608"/>
                    <a:pt x="1863977" y="269349"/>
                    <a:pt x="1863977" y="234518"/>
                  </a:cubicBezTo>
                  <a:lnTo>
                    <a:pt x="1863977" y="127494"/>
                  </a:lnTo>
                  <a:cubicBezTo>
                    <a:pt x="2122630" y="137122"/>
                    <a:pt x="2366458" y="205569"/>
                    <a:pt x="2582404" y="319853"/>
                  </a:cubicBezTo>
                  <a:lnTo>
                    <a:pt x="2528908" y="412320"/>
                  </a:lnTo>
                  <a:cubicBezTo>
                    <a:pt x="2511453" y="442517"/>
                    <a:pt x="2521795" y="481095"/>
                    <a:pt x="2552053" y="498507"/>
                  </a:cubicBezTo>
                  <a:cubicBezTo>
                    <a:pt x="2582244" y="515928"/>
                    <a:pt x="2620930" y="505640"/>
                    <a:pt x="2638411" y="475410"/>
                  </a:cubicBezTo>
                  <a:lnTo>
                    <a:pt x="2691780" y="383108"/>
                  </a:lnTo>
                  <a:cubicBezTo>
                    <a:pt x="2903807" y="516652"/>
                    <a:pt x="3083831" y="696324"/>
                    <a:pt x="3217633" y="907937"/>
                  </a:cubicBezTo>
                  <a:lnTo>
                    <a:pt x="3125156" y="961235"/>
                  </a:lnTo>
                  <a:cubicBezTo>
                    <a:pt x="3094931" y="978656"/>
                    <a:pt x="3084556" y="1017259"/>
                    <a:pt x="3102011" y="1047425"/>
                  </a:cubicBezTo>
                  <a:cubicBezTo>
                    <a:pt x="3119492" y="1077624"/>
                    <a:pt x="3158178" y="1087945"/>
                    <a:pt x="3188369" y="1070524"/>
                  </a:cubicBezTo>
                  <a:lnTo>
                    <a:pt x="3281049" y="1017133"/>
                  </a:lnTo>
                  <a:cubicBezTo>
                    <a:pt x="3395524" y="1232657"/>
                    <a:pt x="3464107" y="1475983"/>
                    <a:pt x="3473749" y="1734156"/>
                  </a:cubicBezTo>
                  <a:close/>
                </a:path>
              </a:pathLst>
            </a:custGeom>
            <a:solidFill>
              <a:srgbClr val="000000"/>
            </a:solidFill>
            <a:ln w="84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385" name="Frihandsfigur: Form 384">
              <a:extLst>
                <a:ext uri="{FF2B5EF4-FFF2-40B4-BE49-F238E27FC236}">
                  <a16:creationId xmlns:a16="http://schemas.microsoft.com/office/drawing/2014/main" id="{0B2E2DBB-3954-0802-5130-CC1A71E8B75D}"/>
                </a:ext>
              </a:extLst>
            </p:cNvPr>
            <p:cNvSpPr/>
            <p:nvPr/>
          </p:nvSpPr>
          <p:spPr>
            <a:xfrm>
              <a:off x="1870731" y="5645515"/>
              <a:ext cx="264041" cy="104303"/>
            </a:xfrm>
            <a:custGeom>
              <a:avLst/>
              <a:gdLst>
                <a:gd name="connsiteX0" fmla="*/ 804321 w 975984"/>
                <a:gd name="connsiteY0" fmla="*/ 0 h 385539"/>
                <a:gd name="connsiteX1" fmla="*/ 171663 w 975984"/>
                <a:gd name="connsiteY1" fmla="*/ 0 h 385539"/>
                <a:gd name="connsiteX2" fmla="*/ 0 w 975984"/>
                <a:gd name="connsiteY2" fmla="*/ 171328 h 385539"/>
                <a:gd name="connsiteX3" fmla="*/ 0 w 975984"/>
                <a:gd name="connsiteY3" fmla="*/ 214178 h 385539"/>
                <a:gd name="connsiteX4" fmla="*/ 171663 w 975984"/>
                <a:gd name="connsiteY4" fmla="*/ 385540 h 385539"/>
                <a:gd name="connsiteX5" fmla="*/ 340460 w 975984"/>
                <a:gd name="connsiteY5" fmla="*/ 385540 h 385539"/>
                <a:gd name="connsiteX6" fmla="*/ 403707 w 975984"/>
                <a:gd name="connsiteY6" fmla="*/ 322416 h 385539"/>
                <a:gd name="connsiteX7" fmla="*/ 340460 w 975984"/>
                <a:gd name="connsiteY7" fmla="*/ 259326 h 385539"/>
                <a:gd name="connsiteX8" fmla="*/ 171663 w 975984"/>
                <a:gd name="connsiteY8" fmla="*/ 259326 h 385539"/>
                <a:gd name="connsiteX9" fmla="*/ 126427 w 975984"/>
                <a:gd name="connsiteY9" fmla="*/ 214178 h 385539"/>
                <a:gd name="connsiteX10" fmla="*/ 126427 w 975984"/>
                <a:gd name="connsiteY10" fmla="*/ 171328 h 385539"/>
                <a:gd name="connsiteX11" fmla="*/ 171663 w 975984"/>
                <a:gd name="connsiteY11" fmla="*/ 126180 h 385539"/>
                <a:gd name="connsiteX12" fmla="*/ 804321 w 975984"/>
                <a:gd name="connsiteY12" fmla="*/ 126180 h 385539"/>
                <a:gd name="connsiteX13" fmla="*/ 849557 w 975984"/>
                <a:gd name="connsiteY13" fmla="*/ 171328 h 385539"/>
                <a:gd name="connsiteX14" fmla="*/ 849557 w 975984"/>
                <a:gd name="connsiteY14" fmla="*/ 214178 h 385539"/>
                <a:gd name="connsiteX15" fmla="*/ 804321 w 975984"/>
                <a:gd name="connsiteY15" fmla="*/ 259326 h 385539"/>
                <a:gd name="connsiteX16" fmla="*/ 635490 w 975984"/>
                <a:gd name="connsiteY16" fmla="*/ 259326 h 385539"/>
                <a:gd name="connsiteX17" fmla="*/ 572277 w 975984"/>
                <a:gd name="connsiteY17" fmla="*/ 322416 h 385539"/>
                <a:gd name="connsiteX18" fmla="*/ 635490 w 975984"/>
                <a:gd name="connsiteY18" fmla="*/ 385540 h 385539"/>
                <a:gd name="connsiteX19" fmla="*/ 804321 w 975984"/>
                <a:gd name="connsiteY19" fmla="*/ 385540 h 385539"/>
                <a:gd name="connsiteX20" fmla="*/ 975984 w 975984"/>
                <a:gd name="connsiteY20" fmla="*/ 214178 h 385539"/>
                <a:gd name="connsiteX21" fmla="*/ 975984 w 975984"/>
                <a:gd name="connsiteY21" fmla="*/ 171328 h 385539"/>
                <a:gd name="connsiteX22" fmla="*/ 804321 w 975984"/>
                <a:gd name="connsiteY22" fmla="*/ 0 h 385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75984" h="385539">
                  <a:moveTo>
                    <a:pt x="804321" y="0"/>
                  </a:moveTo>
                  <a:lnTo>
                    <a:pt x="171663" y="0"/>
                  </a:lnTo>
                  <a:cubicBezTo>
                    <a:pt x="77003" y="0"/>
                    <a:pt x="0" y="76852"/>
                    <a:pt x="0" y="171328"/>
                  </a:cubicBezTo>
                  <a:lnTo>
                    <a:pt x="0" y="214178"/>
                  </a:lnTo>
                  <a:cubicBezTo>
                    <a:pt x="0" y="308645"/>
                    <a:pt x="77003" y="385540"/>
                    <a:pt x="171663" y="385540"/>
                  </a:cubicBezTo>
                  <a:lnTo>
                    <a:pt x="340460" y="385540"/>
                  </a:lnTo>
                  <a:cubicBezTo>
                    <a:pt x="375396" y="385540"/>
                    <a:pt x="403707" y="357275"/>
                    <a:pt x="403707" y="322416"/>
                  </a:cubicBezTo>
                  <a:cubicBezTo>
                    <a:pt x="403707" y="287582"/>
                    <a:pt x="375396" y="259326"/>
                    <a:pt x="340460" y="259326"/>
                  </a:cubicBezTo>
                  <a:lnTo>
                    <a:pt x="171663" y="259326"/>
                  </a:lnTo>
                  <a:cubicBezTo>
                    <a:pt x="146706" y="259326"/>
                    <a:pt x="126427" y="239078"/>
                    <a:pt x="126427" y="214178"/>
                  </a:cubicBezTo>
                  <a:lnTo>
                    <a:pt x="126427" y="171328"/>
                  </a:lnTo>
                  <a:cubicBezTo>
                    <a:pt x="126427" y="146453"/>
                    <a:pt x="146706" y="126180"/>
                    <a:pt x="171663" y="126180"/>
                  </a:cubicBezTo>
                  <a:lnTo>
                    <a:pt x="804321" y="126180"/>
                  </a:lnTo>
                  <a:cubicBezTo>
                    <a:pt x="829278" y="126180"/>
                    <a:pt x="849557" y="146453"/>
                    <a:pt x="849557" y="171328"/>
                  </a:cubicBezTo>
                  <a:lnTo>
                    <a:pt x="849557" y="214178"/>
                  </a:lnTo>
                  <a:cubicBezTo>
                    <a:pt x="849557" y="239078"/>
                    <a:pt x="829278" y="259326"/>
                    <a:pt x="804321" y="259326"/>
                  </a:cubicBezTo>
                  <a:lnTo>
                    <a:pt x="635490" y="259326"/>
                  </a:lnTo>
                  <a:cubicBezTo>
                    <a:pt x="600588" y="259326"/>
                    <a:pt x="572277" y="287582"/>
                    <a:pt x="572277" y="322416"/>
                  </a:cubicBezTo>
                  <a:cubicBezTo>
                    <a:pt x="572277" y="357275"/>
                    <a:pt x="600588" y="385540"/>
                    <a:pt x="635490" y="385540"/>
                  </a:cubicBezTo>
                  <a:lnTo>
                    <a:pt x="804321" y="385540"/>
                  </a:lnTo>
                  <a:cubicBezTo>
                    <a:pt x="898981" y="385540"/>
                    <a:pt x="975984" y="308679"/>
                    <a:pt x="975984" y="214178"/>
                  </a:cubicBezTo>
                  <a:lnTo>
                    <a:pt x="975984" y="171328"/>
                  </a:lnTo>
                  <a:cubicBezTo>
                    <a:pt x="975984" y="76852"/>
                    <a:pt x="898981" y="0"/>
                    <a:pt x="804321" y="0"/>
                  </a:cubicBezTo>
                  <a:close/>
                </a:path>
              </a:pathLst>
            </a:custGeom>
            <a:solidFill>
              <a:srgbClr val="000000"/>
            </a:solidFill>
            <a:ln w="84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386" name="Frihandsfigur: Form 385">
              <a:extLst>
                <a:ext uri="{FF2B5EF4-FFF2-40B4-BE49-F238E27FC236}">
                  <a16:creationId xmlns:a16="http://schemas.microsoft.com/office/drawing/2014/main" id="{A7AEDE3B-1E00-73BF-A818-B152A6B11CBA}"/>
                </a:ext>
              </a:extLst>
            </p:cNvPr>
            <p:cNvSpPr/>
            <p:nvPr/>
          </p:nvSpPr>
          <p:spPr>
            <a:xfrm>
              <a:off x="1419015" y="4885090"/>
              <a:ext cx="1166053" cy="1165190"/>
            </a:xfrm>
            <a:custGeom>
              <a:avLst/>
              <a:gdLst>
                <a:gd name="connsiteX0" fmla="*/ 4251308 w 4310131"/>
                <a:gd name="connsiteY0" fmla="*/ 2069221 h 4306952"/>
                <a:gd name="connsiteX1" fmla="*/ 4309978 w 4310131"/>
                <a:gd name="connsiteY1" fmla="*/ 2001892 h 4306952"/>
                <a:gd name="connsiteX2" fmla="*/ 2157690 w 4310131"/>
                <a:gd name="connsiteY2" fmla="*/ 0 h 4306952"/>
                <a:gd name="connsiteX3" fmla="*/ 0 w 4310131"/>
                <a:gd name="connsiteY3" fmla="*/ 2153476 h 4306952"/>
                <a:gd name="connsiteX4" fmla="*/ 2157690 w 4310131"/>
                <a:gd name="connsiteY4" fmla="*/ 4306952 h 4306952"/>
                <a:gd name="connsiteX5" fmla="*/ 4309978 w 4310131"/>
                <a:gd name="connsiteY5" fmla="*/ 2305086 h 4306952"/>
                <a:gd name="connsiteX6" fmla="*/ 4251308 w 4310131"/>
                <a:gd name="connsiteY6" fmla="*/ 2237764 h 4306952"/>
                <a:gd name="connsiteX7" fmla="*/ 4183854 w 4310131"/>
                <a:gd name="connsiteY7" fmla="*/ 2296346 h 4306952"/>
                <a:gd name="connsiteX8" fmla="*/ 2157690 w 4310131"/>
                <a:gd name="connsiteY8" fmla="*/ 4180738 h 4306952"/>
                <a:gd name="connsiteX9" fmla="*/ 126427 w 4310131"/>
                <a:gd name="connsiteY9" fmla="*/ 2153476 h 4306952"/>
                <a:gd name="connsiteX10" fmla="*/ 2157690 w 4310131"/>
                <a:gd name="connsiteY10" fmla="*/ 126180 h 4306952"/>
                <a:gd name="connsiteX11" fmla="*/ 4183854 w 4310131"/>
                <a:gd name="connsiteY11" fmla="*/ 2010665 h 4306952"/>
                <a:gd name="connsiteX12" fmla="*/ 4251308 w 4310131"/>
                <a:gd name="connsiteY12" fmla="*/ 2069221 h 4306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310131" h="4306952">
                  <a:moveTo>
                    <a:pt x="4251308" y="2069221"/>
                  </a:moveTo>
                  <a:cubicBezTo>
                    <a:pt x="4286109" y="2066790"/>
                    <a:pt x="4312389" y="2036658"/>
                    <a:pt x="4309978" y="2001892"/>
                  </a:cubicBezTo>
                  <a:cubicBezTo>
                    <a:pt x="4231753" y="879518"/>
                    <a:pt x="3295038" y="0"/>
                    <a:pt x="2157690" y="0"/>
                  </a:cubicBezTo>
                  <a:cubicBezTo>
                    <a:pt x="965128" y="0"/>
                    <a:pt x="0" y="963142"/>
                    <a:pt x="0" y="2153476"/>
                  </a:cubicBezTo>
                  <a:cubicBezTo>
                    <a:pt x="0" y="3343709"/>
                    <a:pt x="965027" y="4306952"/>
                    <a:pt x="2157690" y="4306952"/>
                  </a:cubicBezTo>
                  <a:cubicBezTo>
                    <a:pt x="3294186" y="4306952"/>
                    <a:pt x="4231652" y="3428157"/>
                    <a:pt x="4309978" y="2305086"/>
                  </a:cubicBezTo>
                  <a:cubicBezTo>
                    <a:pt x="4312389" y="2270327"/>
                    <a:pt x="4286142" y="2240196"/>
                    <a:pt x="4251308" y="2237764"/>
                  </a:cubicBezTo>
                  <a:cubicBezTo>
                    <a:pt x="4216641" y="2235392"/>
                    <a:pt x="4186256" y="2261587"/>
                    <a:pt x="4183854" y="2296346"/>
                  </a:cubicBezTo>
                  <a:cubicBezTo>
                    <a:pt x="4110164" y="3353013"/>
                    <a:pt x="3220142" y="4180738"/>
                    <a:pt x="2157690" y="4180738"/>
                  </a:cubicBezTo>
                  <a:cubicBezTo>
                    <a:pt x="1037655" y="4180738"/>
                    <a:pt x="126427" y="3271324"/>
                    <a:pt x="126427" y="2153476"/>
                  </a:cubicBezTo>
                  <a:cubicBezTo>
                    <a:pt x="126427" y="1035629"/>
                    <a:pt x="1037655" y="126180"/>
                    <a:pt x="2157690" y="126180"/>
                  </a:cubicBezTo>
                  <a:cubicBezTo>
                    <a:pt x="3220201" y="126180"/>
                    <a:pt x="4110198" y="953939"/>
                    <a:pt x="4183854" y="2010665"/>
                  </a:cubicBezTo>
                  <a:cubicBezTo>
                    <a:pt x="4186256" y="2045432"/>
                    <a:pt x="4216574" y="2071627"/>
                    <a:pt x="4251308" y="2069221"/>
                  </a:cubicBezTo>
                  <a:close/>
                </a:path>
              </a:pathLst>
            </a:custGeom>
            <a:solidFill>
              <a:srgbClr val="000000"/>
            </a:solidFill>
            <a:ln w="84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grpSp>
          <p:nvGrpSpPr>
            <p:cNvPr id="387" name="Grupp 386">
              <a:extLst>
                <a:ext uri="{FF2B5EF4-FFF2-40B4-BE49-F238E27FC236}">
                  <a16:creationId xmlns:a16="http://schemas.microsoft.com/office/drawing/2014/main" id="{501C098E-B295-41CC-0BE9-48D28BB6A3D2}"/>
                </a:ext>
              </a:extLst>
            </p:cNvPr>
            <p:cNvGrpSpPr/>
            <p:nvPr/>
          </p:nvGrpSpPr>
          <p:grpSpPr>
            <a:xfrm rot="3160765">
              <a:off x="2038494" y="5188642"/>
              <a:ext cx="137232" cy="397770"/>
              <a:chOff x="5211293" y="2337446"/>
              <a:chExt cx="507259" cy="1470294"/>
            </a:xfrm>
          </p:grpSpPr>
          <p:sp>
            <p:nvSpPr>
              <p:cNvPr id="401" name="Frihandsfigur: Form 400">
                <a:extLst>
                  <a:ext uri="{FF2B5EF4-FFF2-40B4-BE49-F238E27FC236}">
                    <a16:creationId xmlns:a16="http://schemas.microsoft.com/office/drawing/2014/main" id="{0C7CEFEB-936E-C17C-F1FC-0D1A77C91EDB}"/>
                  </a:ext>
                </a:extLst>
              </p:cNvPr>
              <p:cNvSpPr/>
              <p:nvPr/>
            </p:nvSpPr>
            <p:spPr>
              <a:xfrm>
                <a:off x="5287285" y="2404469"/>
                <a:ext cx="360941" cy="1115420"/>
              </a:xfrm>
              <a:custGeom>
                <a:avLst/>
                <a:gdLst>
                  <a:gd name="connsiteX0" fmla="*/ 216603 w 360941"/>
                  <a:gd name="connsiteY0" fmla="*/ 32113 h 1115420"/>
                  <a:gd name="connsiteX1" fmla="*/ 144371 w 360941"/>
                  <a:gd name="connsiteY1" fmla="*/ 32113 h 1115420"/>
                  <a:gd name="connsiteX2" fmla="*/ 0 w 360941"/>
                  <a:gd name="connsiteY2" fmla="*/ 1115421 h 1115420"/>
                  <a:gd name="connsiteX3" fmla="*/ 180487 w 360941"/>
                  <a:gd name="connsiteY3" fmla="*/ 983133 h 1115420"/>
                  <a:gd name="connsiteX4" fmla="*/ 360941 w 360941"/>
                  <a:gd name="connsiteY4" fmla="*/ 1115421 h 1115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0941" h="1115420">
                    <a:moveTo>
                      <a:pt x="216603" y="32113"/>
                    </a:moveTo>
                    <a:cubicBezTo>
                      <a:pt x="210872" y="-10704"/>
                      <a:pt x="150069" y="-10704"/>
                      <a:pt x="144371" y="32113"/>
                    </a:cubicBezTo>
                    <a:lnTo>
                      <a:pt x="0" y="1115421"/>
                    </a:lnTo>
                    <a:cubicBezTo>
                      <a:pt x="25285" y="1038594"/>
                      <a:pt x="96464" y="983133"/>
                      <a:pt x="180487" y="983133"/>
                    </a:cubicBezTo>
                    <a:cubicBezTo>
                      <a:pt x="264511" y="983133"/>
                      <a:pt x="335656" y="1038560"/>
                      <a:pt x="360941" y="1115421"/>
                    </a:cubicBezTo>
                    <a:close/>
                  </a:path>
                </a:pathLst>
              </a:custGeom>
              <a:solidFill>
                <a:srgbClr val="E4EAF8"/>
              </a:solidFill>
              <a:ln w="842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sv-SE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514350" fontAlgn="auto">
                  <a:spcBef>
                    <a:spcPts val="0"/>
                  </a:spcBef>
                  <a:spcAft>
                    <a:spcPts val="0"/>
                  </a:spcAft>
                </a:pPr>
                <a:endParaRPr lang="sv-SE" sz="76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402" name="Frihandsfigur: Form 401">
                <a:extLst>
                  <a:ext uri="{FF2B5EF4-FFF2-40B4-BE49-F238E27FC236}">
                    <a16:creationId xmlns:a16="http://schemas.microsoft.com/office/drawing/2014/main" id="{95A11B61-4D15-8724-991C-7C3CCAAB99D9}"/>
                  </a:ext>
                </a:extLst>
              </p:cNvPr>
              <p:cNvSpPr/>
              <p:nvPr/>
            </p:nvSpPr>
            <p:spPr>
              <a:xfrm>
                <a:off x="5287285" y="2404469"/>
                <a:ext cx="275670" cy="1115420"/>
              </a:xfrm>
              <a:custGeom>
                <a:avLst/>
                <a:gdLst>
                  <a:gd name="connsiteX0" fmla="*/ 275670 w 275670"/>
                  <a:gd name="connsiteY0" fmla="*/ 475611 h 1115420"/>
                  <a:gd name="connsiteX1" fmla="*/ 216603 w 275670"/>
                  <a:gd name="connsiteY1" fmla="*/ 32113 h 1115420"/>
                  <a:gd name="connsiteX2" fmla="*/ 144371 w 275670"/>
                  <a:gd name="connsiteY2" fmla="*/ 32113 h 1115420"/>
                  <a:gd name="connsiteX3" fmla="*/ 0 w 275670"/>
                  <a:gd name="connsiteY3" fmla="*/ 1115421 h 1115420"/>
                  <a:gd name="connsiteX4" fmla="*/ 180487 w 275670"/>
                  <a:gd name="connsiteY4" fmla="*/ 983133 h 1115420"/>
                  <a:gd name="connsiteX5" fmla="*/ 207779 w 275670"/>
                  <a:gd name="connsiteY5" fmla="*/ 985236 h 1115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5670" h="1115420">
                    <a:moveTo>
                      <a:pt x="275670" y="475611"/>
                    </a:moveTo>
                    <a:lnTo>
                      <a:pt x="216603" y="32113"/>
                    </a:lnTo>
                    <a:cubicBezTo>
                      <a:pt x="210872" y="-10704"/>
                      <a:pt x="150069" y="-10704"/>
                      <a:pt x="144371" y="32113"/>
                    </a:cubicBezTo>
                    <a:lnTo>
                      <a:pt x="0" y="1115421"/>
                    </a:lnTo>
                    <a:cubicBezTo>
                      <a:pt x="25285" y="1038594"/>
                      <a:pt x="96464" y="983133"/>
                      <a:pt x="180487" y="983133"/>
                    </a:cubicBezTo>
                    <a:cubicBezTo>
                      <a:pt x="189776" y="983133"/>
                      <a:pt x="198861" y="983916"/>
                      <a:pt x="207779" y="985236"/>
                    </a:cubicBezTo>
                    <a:close/>
                  </a:path>
                </a:pathLst>
              </a:custGeom>
              <a:solidFill>
                <a:srgbClr val="D8DCE5"/>
              </a:solidFill>
              <a:ln w="842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sv-SE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514350" fontAlgn="auto">
                  <a:spcBef>
                    <a:spcPts val="0"/>
                  </a:spcBef>
                  <a:spcAft>
                    <a:spcPts val="0"/>
                  </a:spcAft>
                </a:pPr>
                <a:endParaRPr lang="sv-SE" sz="76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403" name="Frihandsfigur: Form 402">
                <a:extLst>
                  <a:ext uri="{FF2B5EF4-FFF2-40B4-BE49-F238E27FC236}">
                    <a16:creationId xmlns:a16="http://schemas.microsoft.com/office/drawing/2014/main" id="{5C7594A4-319E-6367-9836-FF7148F32CCE}"/>
                  </a:ext>
                </a:extLst>
              </p:cNvPr>
              <p:cNvSpPr/>
              <p:nvPr/>
            </p:nvSpPr>
            <p:spPr>
              <a:xfrm>
                <a:off x="5277339" y="3368507"/>
                <a:ext cx="380832" cy="380088"/>
              </a:xfrm>
              <a:custGeom>
                <a:avLst/>
                <a:gdLst>
                  <a:gd name="connsiteX0" fmla="*/ 380832 w 380832"/>
                  <a:gd name="connsiteY0" fmla="*/ 190061 h 380088"/>
                  <a:gd name="connsiteX1" fmla="*/ 190433 w 380832"/>
                  <a:gd name="connsiteY1" fmla="*/ 380088 h 380088"/>
                  <a:gd name="connsiteX2" fmla="*/ 0 w 380832"/>
                  <a:gd name="connsiteY2" fmla="*/ 190061 h 380088"/>
                  <a:gd name="connsiteX3" fmla="*/ 190433 w 380832"/>
                  <a:gd name="connsiteY3" fmla="*/ 0 h 380088"/>
                  <a:gd name="connsiteX4" fmla="*/ 380832 w 380832"/>
                  <a:gd name="connsiteY4" fmla="*/ 190061 h 3800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0832" h="380088">
                    <a:moveTo>
                      <a:pt x="380832" y="190061"/>
                    </a:moveTo>
                    <a:cubicBezTo>
                      <a:pt x="380832" y="295009"/>
                      <a:pt x="295587" y="380088"/>
                      <a:pt x="190433" y="380088"/>
                    </a:cubicBezTo>
                    <a:cubicBezTo>
                      <a:pt x="85271" y="380088"/>
                      <a:pt x="0" y="295009"/>
                      <a:pt x="0" y="190061"/>
                    </a:cubicBezTo>
                    <a:cubicBezTo>
                      <a:pt x="0" y="85104"/>
                      <a:pt x="85271" y="0"/>
                      <a:pt x="190433" y="0"/>
                    </a:cubicBezTo>
                    <a:cubicBezTo>
                      <a:pt x="295587" y="0"/>
                      <a:pt x="380832" y="85104"/>
                      <a:pt x="380832" y="190061"/>
                    </a:cubicBezTo>
                    <a:close/>
                  </a:path>
                </a:pathLst>
              </a:custGeom>
              <a:solidFill>
                <a:srgbClr val="576574"/>
              </a:solidFill>
              <a:ln w="842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sv-SE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514350" fontAlgn="auto">
                  <a:spcBef>
                    <a:spcPts val="0"/>
                  </a:spcBef>
                  <a:spcAft>
                    <a:spcPts val="0"/>
                  </a:spcAft>
                </a:pPr>
                <a:endParaRPr lang="sv-SE" sz="76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404" name="Frihandsfigur: Form 403">
                <a:extLst>
                  <a:ext uri="{FF2B5EF4-FFF2-40B4-BE49-F238E27FC236}">
                    <a16:creationId xmlns:a16="http://schemas.microsoft.com/office/drawing/2014/main" id="{41479D65-DD64-CF1F-5B0E-F8C91A5290D1}"/>
                  </a:ext>
                </a:extLst>
              </p:cNvPr>
              <p:cNvSpPr/>
              <p:nvPr/>
            </p:nvSpPr>
            <p:spPr>
              <a:xfrm>
                <a:off x="5277339" y="3368507"/>
                <a:ext cx="316860" cy="380088"/>
              </a:xfrm>
              <a:custGeom>
                <a:avLst/>
                <a:gdLst>
                  <a:gd name="connsiteX0" fmla="*/ 252888 w 316860"/>
                  <a:gd name="connsiteY0" fmla="*/ 190061 h 380088"/>
                  <a:gd name="connsiteX1" fmla="*/ 316860 w 316860"/>
                  <a:gd name="connsiteY1" fmla="*/ 48007 h 380088"/>
                  <a:gd name="connsiteX2" fmla="*/ 190433 w 316860"/>
                  <a:gd name="connsiteY2" fmla="*/ 0 h 380088"/>
                  <a:gd name="connsiteX3" fmla="*/ 0 w 316860"/>
                  <a:gd name="connsiteY3" fmla="*/ 190061 h 380088"/>
                  <a:gd name="connsiteX4" fmla="*/ 190433 w 316860"/>
                  <a:gd name="connsiteY4" fmla="*/ 380088 h 380088"/>
                  <a:gd name="connsiteX5" fmla="*/ 316860 w 316860"/>
                  <a:gd name="connsiteY5" fmla="*/ 332106 h 380088"/>
                  <a:gd name="connsiteX6" fmla="*/ 252888 w 316860"/>
                  <a:gd name="connsiteY6" fmla="*/ 190061 h 3800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6860" h="380088">
                    <a:moveTo>
                      <a:pt x="252888" y="190061"/>
                    </a:moveTo>
                    <a:cubicBezTo>
                      <a:pt x="252888" y="133541"/>
                      <a:pt x="277617" y="82808"/>
                      <a:pt x="316860" y="48007"/>
                    </a:cubicBezTo>
                    <a:cubicBezTo>
                      <a:pt x="283214" y="18170"/>
                      <a:pt x="238964" y="0"/>
                      <a:pt x="190433" y="0"/>
                    </a:cubicBezTo>
                    <a:cubicBezTo>
                      <a:pt x="85271" y="0"/>
                      <a:pt x="0" y="85104"/>
                      <a:pt x="0" y="190061"/>
                    </a:cubicBezTo>
                    <a:cubicBezTo>
                      <a:pt x="0" y="295009"/>
                      <a:pt x="85271" y="380088"/>
                      <a:pt x="190433" y="380088"/>
                    </a:cubicBezTo>
                    <a:cubicBezTo>
                      <a:pt x="238964" y="380088"/>
                      <a:pt x="283214" y="361944"/>
                      <a:pt x="316860" y="332106"/>
                    </a:cubicBezTo>
                    <a:cubicBezTo>
                      <a:pt x="277651" y="297281"/>
                      <a:pt x="252888" y="246581"/>
                      <a:pt x="252888" y="190061"/>
                    </a:cubicBezTo>
                    <a:close/>
                  </a:path>
                </a:pathLst>
              </a:custGeom>
              <a:solidFill>
                <a:srgbClr val="3E4B5A"/>
              </a:solidFill>
              <a:ln w="842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sv-SE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514350" fontAlgn="auto">
                  <a:spcBef>
                    <a:spcPts val="0"/>
                  </a:spcBef>
                  <a:spcAft>
                    <a:spcPts val="0"/>
                  </a:spcAft>
                </a:pPr>
                <a:endParaRPr lang="sv-SE" sz="76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405" name="Frihandsfigur: Form 404">
                <a:extLst>
                  <a:ext uri="{FF2B5EF4-FFF2-40B4-BE49-F238E27FC236}">
                    <a16:creationId xmlns:a16="http://schemas.microsoft.com/office/drawing/2014/main" id="{4C442F69-B992-5C2D-F181-8808CC383746}"/>
                  </a:ext>
                </a:extLst>
              </p:cNvPr>
              <p:cNvSpPr/>
              <p:nvPr/>
            </p:nvSpPr>
            <p:spPr>
              <a:xfrm>
                <a:off x="5287285" y="2404469"/>
                <a:ext cx="360941" cy="1115420"/>
              </a:xfrm>
              <a:custGeom>
                <a:avLst/>
                <a:gdLst>
                  <a:gd name="connsiteX0" fmla="*/ 216603 w 360941"/>
                  <a:gd name="connsiteY0" fmla="*/ 32113 h 1115420"/>
                  <a:gd name="connsiteX1" fmla="*/ 144371 w 360941"/>
                  <a:gd name="connsiteY1" fmla="*/ 32113 h 1115420"/>
                  <a:gd name="connsiteX2" fmla="*/ 0 w 360941"/>
                  <a:gd name="connsiteY2" fmla="*/ 1115421 h 1115420"/>
                  <a:gd name="connsiteX3" fmla="*/ 180487 w 360941"/>
                  <a:gd name="connsiteY3" fmla="*/ 983133 h 1115420"/>
                  <a:gd name="connsiteX4" fmla="*/ 360941 w 360941"/>
                  <a:gd name="connsiteY4" fmla="*/ 1115421 h 1115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0941" h="1115420">
                    <a:moveTo>
                      <a:pt x="216603" y="32113"/>
                    </a:moveTo>
                    <a:cubicBezTo>
                      <a:pt x="210872" y="-10704"/>
                      <a:pt x="150069" y="-10704"/>
                      <a:pt x="144371" y="32113"/>
                    </a:cubicBezTo>
                    <a:lnTo>
                      <a:pt x="0" y="1115421"/>
                    </a:lnTo>
                    <a:cubicBezTo>
                      <a:pt x="25285" y="1038594"/>
                      <a:pt x="96464" y="983133"/>
                      <a:pt x="180487" y="983133"/>
                    </a:cubicBezTo>
                    <a:cubicBezTo>
                      <a:pt x="264511" y="983133"/>
                      <a:pt x="335656" y="1038560"/>
                      <a:pt x="360941" y="1115421"/>
                    </a:cubicBezTo>
                    <a:close/>
                  </a:path>
                </a:pathLst>
              </a:custGeom>
              <a:solidFill>
                <a:srgbClr val="E4EAF8"/>
              </a:solidFill>
              <a:ln w="842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sv-SE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514350" fontAlgn="auto">
                  <a:spcBef>
                    <a:spcPts val="0"/>
                  </a:spcBef>
                  <a:spcAft>
                    <a:spcPts val="0"/>
                  </a:spcAft>
                </a:pPr>
                <a:endParaRPr lang="sv-SE" sz="76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406" name="Frihandsfigur: Form 405">
                <a:extLst>
                  <a:ext uri="{FF2B5EF4-FFF2-40B4-BE49-F238E27FC236}">
                    <a16:creationId xmlns:a16="http://schemas.microsoft.com/office/drawing/2014/main" id="{65BCE93F-70D6-13A9-97A0-116377B8153D}"/>
                  </a:ext>
                </a:extLst>
              </p:cNvPr>
              <p:cNvSpPr/>
              <p:nvPr/>
            </p:nvSpPr>
            <p:spPr>
              <a:xfrm>
                <a:off x="5287285" y="2404469"/>
                <a:ext cx="275670" cy="1115420"/>
              </a:xfrm>
              <a:custGeom>
                <a:avLst/>
                <a:gdLst>
                  <a:gd name="connsiteX0" fmla="*/ 275670 w 275670"/>
                  <a:gd name="connsiteY0" fmla="*/ 475611 h 1115420"/>
                  <a:gd name="connsiteX1" fmla="*/ 216603 w 275670"/>
                  <a:gd name="connsiteY1" fmla="*/ 32113 h 1115420"/>
                  <a:gd name="connsiteX2" fmla="*/ 144371 w 275670"/>
                  <a:gd name="connsiteY2" fmla="*/ 32113 h 1115420"/>
                  <a:gd name="connsiteX3" fmla="*/ 0 w 275670"/>
                  <a:gd name="connsiteY3" fmla="*/ 1115421 h 1115420"/>
                  <a:gd name="connsiteX4" fmla="*/ 180487 w 275670"/>
                  <a:gd name="connsiteY4" fmla="*/ 983133 h 1115420"/>
                  <a:gd name="connsiteX5" fmla="*/ 207779 w 275670"/>
                  <a:gd name="connsiteY5" fmla="*/ 985236 h 1115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5670" h="1115420">
                    <a:moveTo>
                      <a:pt x="275670" y="475611"/>
                    </a:moveTo>
                    <a:lnTo>
                      <a:pt x="216603" y="32113"/>
                    </a:lnTo>
                    <a:cubicBezTo>
                      <a:pt x="210872" y="-10704"/>
                      <a:pt x="150069" y="-10704"/>
                      <a:pt x="144371" y="32113"/>
                    </a:cubicBezTo>
                    <a:lnTo>
                      <a:pt x="0" y="1115421"/>
                    </a:lnTo>
                    <a:cubicBezTo>
                      <a:pt x="25285" y="1038594"/>
                      <a:pt x="96464" y="983133"/>
                      <a:pt x="180487" y="983133"/>
                    </a:cubicBezTo>
                    <a:cubicBezTo>
                      <a:pt x="189776" y="983133"/>
                      <a:pt x="198861" y="983916"/>
                      <a:pt x="207779" y="985236"/>
                    </a:cubicBezTo>
                    <a:close/>
                  </a:path>
                </a:pathLst>
              </a:custGeom>
              <a:solidFill>
                <a:srgbClr val="D8DCE5"/>
              </a:solidFill>
              <a:ln w="842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sv-SE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514350" fontAlgn="auto">
                  <a:spcBef>
                    <a:spcPts val="0"/>
                  </a:spcBef>
                  <a:spcAft>
                    <a:spcPts val="0"/>
                  </a:spcAft>
                </a:pPr>
                <a:endParaRPr lang="sv-SE" sz="76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407" name="Frihandsfigur: Form 406">
                <a:extLst>
                  <a:ext uri="{FF2B5EF4-FFF2-40B4-BE49-F238E27FC236}">
                    <a16:creationId xmlns:a16="http://schemas.microsoft.com/office/drawing/2014/main" id="{0F2DC440-7653-A589-9862-711C6253574D}"/>
                  </a:ext>
                </a:extLst>
              </p:cNvPr>
              <p:cNvSpPr/>
              <p:nvPr/>
            </p:nvSpPr>
            <p:spPr>
              <a:xfrm>
                <a:off x="5277339" y="3368507"/>
                <a:ext cx="380832" cy="380088"/>
              </a:xfrm>
              <a:custGeom>
                <a:avLst/>
                <a:gdLst>
                  <a:gd name="connsiteX0" fmla="*/ 380832 w 380832"/>
                  <a:gd name="connsiteY0" fmla="*/ 190061 h 380088"/>
                  <a:gd name="connsiteX1" fmla="*/ 190433 w 380832"/>
                  <a:gd name="connsiteY1" fmla="*/ 380088 h 380088"/>
                  <a:gd name="connsiteX2" fmla="*/ 0 w 380832"/>
                  <a:gd name="connsiteY2" fmla="*/ 190061 h 380088"/>
                  <a:gd name="connsiteX3" fmla="*/ 190433 w 380832"/>
                  <a:gd name="connsiteY3" fmla="*/ 0 h 380088"/>
                  <a:gd name="connsiteX4" fmla="*/ 380832 w 380832"/>
                  <a:gd name="connsiteY4" fmla="*/ 190061 h 3800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0832" h="380088">
                    <a:moveTo>
                      <a:pt x="380832" y="190061"/>
                    </a:moveTo>
                    <a:cubicBezTo>
                      <a:pt x="380832" y="295009"/>
                      <a:pt x="295587" y="380088"/>
                      <a:pt x="190433" y="380088"/>
                    </a:cubicBezTo>
                    <a:cubicBezTo>
                      <a:pt x="85271" y="380088"/>
                      <a:pt x="0" y="295009"/>
                      <a:pt x="0" y="190061"/>
                    </a:cubicBezTo>
                    <a:cubicBezTo>
                      <a:pt x="0" y="85104"/>
                      <a:pt x="85271" y="0"/>
                      <a:pt x="190433" y="0"/>
                    </a:cubicBezTo>
                    <a:cubicBezTo>
                      <a:pt x="295587" y="0"/>
                      <a:pt x="380832" y="85104"/>
                      <a:pt x="380832" y="190061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842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sv-SE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514350" fontAlgn="auto">
                  <a:spcBef>
                    <a:spcPts val="0"/>
                  </a:spcBef>
                  <a:spcAft>
                    <a:spcPts val="0"/>
                  </a:spcAft>
                </a:pPr>
                <a:endParaRPr lang="sv-SE" sz="76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408" name="Frihandsfigur: Form 407">
                <a:extLst>
                  <a:ext uri="{FF2B5EF4-FFF2-40B4-BE49-F238E27FC236}">
                    <a16:creationId xmlns:a16="http://schemas.microsoft.com/office/drawing/2014/main" id="{93ACE504-152D-5DE4-4983-FE783852542F}"/>
                  </a:ext>
                </a:extLst>
              </p:cNvPr>
              <p:cNvSpPr/>
              <p:nvPr/>
            </p:nvSpPr>
            <p:spPr>
              <a:xfrm>
                <a:off x="5277339" y="3368507"/>
                <a:ext cx="316860" cy="380088"/>
              </a:xfrm>
              <a:custGeom>
                <a:avLst/>
                <a:gdLst>
                  <a:gd name="connsiteX0" fmla="*/ 252888 w 316860"/>
                  <a:gd name="connsiteY0" fmla="*/ 190061 h 380088"/>
                  <a:gd name="connsiteX1" fmla="*/ 316860 w 316860"/>
                  <a:gd name="connsiteY1" fmla="*/ 48007 h 380088"/>
                  <a:gd name="connsiteX2" fmla="*/ 190433 w 316860"/>
                  <a:gd name="connsiteY2" fmla="*/ 0 h 380088"/>
                  <a:gd name="connsiteX3" fmla="*/ 0 w 316860"/>
                  <a:gd name="connsiteY3" fmla="*/ 190061 h 380088"/>
                  <a:gd name="connsiteX4" fmla="*/ 190433 w 316860"/>
                  <a:gd name="connsiteY4" fmla="*/ 380088 h 380088"/>
                  <a:gd name="connsiteX5" fmla="*/ 316860 w 316860"/>
                  <a:gd name="connsiteY5" fmla="*/ 332106 h 380088"/>
                  <a:gd name="connsiteX6" fmla="*/ 252888 w 316860"/>
                  <a:gd name="connsiteY6" fmla="*/ 190061 h 3800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6860" h="380088">
                    <a:moveTo>
                      <a:pt x="252888" y="190061"/>
                    </a:moveTo>
                    <a:cubicBezTo>
                      <a:pt x="252888" y="133541"/>
                      <a:pt x="277617" y="82808"/>
                      <a:pt x="316860" y="48007"/>
                    </a:cubicBezTo>
                    <a:cubicBezTo>
                      <a:pt x="283214" y="18170"/>
                      <a:pt x="238964" y="0"/>
                      <a:pt x="190433" y="0"/>
                    </a:cubicBezTo>
                    <a:cubicBezTo>
                      <a:pt x="85271" y="0"/>
                      <a:pt x="0" y="85104"/>
                      <a:pt x="0" y="190061"/>
                    </a:cubicBezTo>
                    <a:cubicBezTo>
                      <a:pt x="0" y="295009"/>
                      <a:pt x="85271" y="380088"/>
                      <a:pt x="190433" y="380088"/>
                    </a:cubicBezTo>
                    <a:cubicBezTo>
                      <a:pt x="238964" y="380088"/>
                      <a:pt x="283214" y="361944"/>
                      <a:pt x="316860" y="332106"/>
                    </a:cubicBezTo>
                    <a:cubicBezTo>
                      <a:pt x="277651" y="297281"/>
                      <a:pt x="252888" y="246581"/>
                      <a:pt x="252888" y="190061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842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sv-SE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514350" fontAlgn="auto">
                  <a:spcBef>
                    <a:spcPts val="0"/>
                  </a:spcBef>
                  <a:spcAft>
                    <a:spcPts val="0"/>
                  </a:spcAft>
                </a:pPr>
                <a:endParaRPr lang="sv-SE" sz="76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409" name="Frihandsfigur: Form 408">
                <a:extLst>
                  <a:ext uri="{FF2B5EF4-FFF2-40B4-BE49-F238E27FC236}">
                    <a16:creationId xmlns:a16="http://schemas.microsoft.com/office/drawing/2014/main" id="{8729813E-FE93-2091-B696-456E8B45E28E}"/>
                  </a:ext>
                </a:extLst>
              </p:cNvPr>
              <p:cNvSpPr/>
              <p:nvPr/>
            </p:nvSpPr>
            <p:spPr>
              <a:xfrm>
                <a:off x="5211293" y="2337446"/>
                <a:ext cx="507259" cy="1470294"/>
              </a:xfrm>
              <a:custGeom>
                <a:avLst/>
                <a:gdLst>
                  <a:gd name="connsiteX0" fmla="*/ 253647 w 507259"/>
                  <a:gd name="connsiteY0" fmla="*/ 1470294 h 1470294"/>
                  <a:gd name="connsiteX1" fmla="*/ 507259 w 507259"/>
                  <a:gd name="connsiteY1" fmla="*/ 1217177 h 1470294"/>
                  <a:gd name="connsiteX2" fmla="*/ 495898 w 507259"/>
                  <a:gd name="connsiteY2" fmla="*/ 1142125 h 1470294"/>
                  <a:gd name="connsiteX3" fmla="*/ 352386 w 507259"/>
                  <a:gd name="connsiteY3" fmla="*/ 86089 h 1470294"/>
                  <a:gd name="connsiteX4" fmla="*/ 253647 w 507259"/>
                  <a:gd name="connsiteY4" fmla="*/ 0 h 1470294"/>
                  <a:gd name="connsiteX5" fmla="*/ 154873 w 507259"/>
                  <a:gd name="connsiteY5" fmla="*/ 86089 h 1470294"/>
                  <a:gd name="connsiteX6" fmla="*/ 11395 w 507259"/>
                  <a:gd name="connsiteY6" fmla="*/ 1142125 h 1470294"/>
                  <a:gd name="connsiteX7" fmla="*/ 0 w 507259"/>
                  <a:gd name="connsiteY7" fmla="*/ 1217177 h 1470294"/>
                  <a:gd name="connsiteX8" fmla="*/ 253647 w 507259"/>
                  <a:gd name="connsiteY8" fmla="*/ 1470294 h 1470294"/>
                  <a:gd name="connsiteX9" fmla="*/ 253647 w 507259"/>
                  <a:gd name="connsiteY9" fmla="*/ 298332 h 1470294"/>
                  <a:gd name="connsiteX10" fmla="*/ 346495 w 507259"/>
                  <a:gd name="connsiteY10" fmla="*/ 981573 h 1470294"/>
                  <a:gd name="connsiteX11" fmla="*/ 160798 w 507259"/>
                  <a:gd name="connsiteY11" fmla="*/ 981573 h 1470294"/>
                  <a:gd name="connsiteX12" fmla="*/ 253647 w 507259"/>
                  <a:gd name="connsiteY12" fmla="*/ 1090239 h 1470294"/>
                  <a:gd name="connsiteX13" fmla="*/ 380832 w 507259"/>
                  <a:gd name="connsiteY13" fmla="*/ 1217177 h 1470294"/>
                  <a:gd name="connsiteX14" fmla="*/ 253647 w 507259"/>
                  <a:gd name="connsiteY14" fmla="*/ 1344114 h 1470294"/>
                  <a:gd name="connsiteX15" fmla="*/ 126427 w 507259"/>
                  <a:gd name="connsiteY15" fmla="*/ 1217177 h 1470294"/>
                  <a:gd name="connsiteX16" fmla="*/ 253647 w 507259"/>
                  <a:gd name="connsiteY16" fmla="*/ 1090239 h 1470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07258" h="1470294">
                    <a:moveTo>
                      <a:pt x="253647" y="1470294"/>
                    </a:moveTo>
                    <a:cubicBezTo>
                      <a:pt x="393509" y="1470294"/>
                      <a:pt x="507259" y="1356766"/>
                      <a:pt x="507259" y="1217177"/>
                    </a:cubicBezTo>
                    <a:cubicBezTo>
                      <a:pt x="507259" y="1191057"/>
                      <a:pt x="503273" y="1165846"/>
                      <a:pt x="495898" y="1142125"/>
                    </a:cubicBezTo>
                    <a:lnTo>
                      <a:pt x="352386" y="86089"/>
                    </a:lnTo>
                    <a:cubicBezTo>
                      <a:pt x="345601" y="36205"/>
                      <a:pt x="304083" y="0"/>
                      <a:pt x="253647" y="0"/>
                    </a:cubicBezTo>
                    <a:cubicBezTo>
                      <a:pt x="203211" y="0"/>
                      <a:pt x="161658" y="36205"/>
                      <a:pt x="154873" y="86089"/>
                    </a:cubicBezTo>
                    <a:lnTo>
                      <a:pt x="11395" y="1142125"/>
                    </a:lnTo>
                    <a:cubicBezTo>
                      <a:pt x="3987" y="1165846"/>
                      <a:pt x="0" y="1191057"/>
                      <a:pt x="0" y="1217177"/>
                    </a:cubicBezTo>
                    <a:cubicBezTo>
                      <a:pt x="0" y="1356766"/>
                      <a:pt x="113784" y="1470294"/>
                      <a:pt x="253647" y="1470294"/>
                    </a:cubicBezTo>
                    <a:close/>
                    <a:moveTo>
                      <a:pt x="253647" y="298332"/>
                    </a:moveTo>
                    <a:lnTo>
                      <a:pt x="346495" y="981573"/>
                    </a:lnTo>
                    <a:cubicBezTo>
                      <a:pt x="287883" y="958574"/>
                      <a:pt x="221180" y="957885"/>
                      <a:pt x="160798" y="981573"/>
                    </a:cubicBezTo>
                    <a:close/>
                    <a:moveTo>
                      <a:pt x="253647" y="1090239"/>
                    </a:moveTo>
                    <a:cubicBezTo>
                      <a:pt x="323940" y="1090239"/>
                      <a:pt x="380832" y="1147677"/>
                      <a:pt x="380832" y="1217177"/>
                    </a:cubicBezTo>
                    <a:cubicBezTo>
                      <a:pt x="380832" y="1287165"/>
                      <a:pt x="323772" y="1344114"/>
                      <a:pt x="253647" y="1344114"/>
                    </a:cubicBezTo>
                    <a:cubicBezTo>
                      <a:pt x="183522" y="1344114"/>
                      <a:pt x="126427" y="1287165"/>
                      <a:pt x="126427" y="1217177"/>
                    </a:cubicBezTo>
                    <a:cubicBezTo>
                      <a:pt x="126461" y="1148568"/>
                      <a:pt x="182595" y="1090239"/>
                      <a:pt x="253647" y="1090239"/>
                    </a:cubicBezTo>
                    <a:close/>
                  </a:path>
                </a:pathLst>
              </a:custGeom>
              <a:solidFill>
                <a:srgbClr val="000000"/>
              </a:solidFill>
              <a:ln w="842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sv-SE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514350" fontAlgn="auto">
                  <a:spcBef>
                    <a:spcPts val="0"/>
                  </a:spcBef>
                  <a:spcAft>
                    <a:spcPts val="0"/>
                  </a:spcAft>
                </a:pPr>
                <a:endParaRPr lang="sv-SE" sz="76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</p:grpSp>
        <p:grpSp>
          <p:nvGrpSpPr>
            <p:cNvPr id="388" name="Grupp 387">
              <a:extLst>
                <a:ext uri="{FF2B5EF4-FFF2-40B4-BE49-F238E27FC236}">
                  <a16:creationId xmlns:a16="http://schemas.microsoft.com/office/drawing/2014/main" id="{692774DC-4BDF-2D23-A442-525F15E3C5FA}"/>
                </a:ext>
              </a:extLst>
            </p:cNvPr>
            <p:cNvGrpSpPr/>
            <p:nvPr/>
          </p:nvGrpSpPr>
          <p:grpSpPr>
            <a:xfrm>
              <a:off x="2071976" y="5404838"/>
              <a:ext cx="629434" cy="629431"/>
              <a:chOff x="4678680" y="2310942"/>
              <a:chExt cx="3444240" cy="3444234"/>
            </a:xfrm>
          </p:grpSpPr>
          <p:sp>
            <p:nvSpPr>
              <p:cNvPr id="389" name="Frihandsfigur: Form 388">
                <a:extLst>
                  <a:ext uri="{FF2B5EF4-FFF2-40B4-BE49-F238E27FC236}">
                    <a16:creationId xmlns:a16="http://schemas.microsoft.com/office/drawing/2014/main" id="{BC925F4A-CAC2-5D5A-5AD5-8E564A848C7C}"/>
                  </a:ext>
                </a:extLst>
              </p:cNvPr>
              <p:cNvSpPr/>
              <p:nvPr/>
            </p:nvSpPr>
            <p:spPr>
              <a:xfrm>
                <a:off x="4737485" y="2369738"/>
                <a:ext cx="3326622" cy="3326624"/>
              </a:xfrm>
              <a:custGeom>
                <a:avLst/>
                <a:gdLst>
                  <a:gd name="connsiteX0" fmla="*/ 3251190 w 3251189"/>
                  <a:gd name="connsiteY0" fmla="*/ 1625599 h 3251189"/>
                  <a:gd name="connsiteX1" fmla="*/ 2995066 w 3251189"/>
                  <a:gd name="connsiteY1" fmla="*/ 1992627 h 3251189"/>
                  <a:gd name="connsiteX2" fmla="*/ 3033587 w 3251189"/>
                  <a:gd name="connsiteY2" fmla="*/ 2438582 h 3251189"/>
                  <a:gd name="connsiteX3" fmla="*/ 2627862 w 3251189"/>
                  <a:gd name="connsiteY3" fmla="*/ 2627870 h 3251189"/>
                  <a:gd name="connsiteX4" fmla="*/ 2438574 w 3251189"/>
                  <a:gd name="connsiteY4" fmla="*/ 3033595 h 3251189"/>
                  <a:gd name="connsiteX5" fmla="*/ 1992619 w 3251189"/>
                  <a:gd name="connsiteY5" fmla="*/ 2995066 h 3251189"/>
                  <a:gd name="connsiteX6" fmla="*/ 1625591 w 3251189"/>
                  <a:gd name="connsiteY6" fmla="*/ 3251190 h 3251189"/>
                  <a:gd name="connsiteX7" fmla="*/ 1258563 w 3251189"/>
                  <a:gd name="connsiteY7" fmla="*/ 2995066 h 3251189"/>
                  <a:gd name="connsiteX8" fmla="*/ 812608 w 3251189"/>
                  <a:gd name="connsiteY8" fmla="*/ 3033587 h 3251189"/>
                  <a:gd name="connsiteX9" fmla="*/ 623320 w 3251189"/>
                  <a:gd name="connsiteY9" fmla="*/ 2627862 h 3251189"/>
                  <a:gd name="connsiteX10" fmla="*/ 217594 w 3251189"/>
                  <a:gd name="connsiteY10" fmla="*/ 2438574 h 3251189"/>
                  <a:gd name="connsiteX11" fmla="*/ 256123 w 3251189"/>
                  <a:gd name="connsiteY11" fmla="*/ 1992619 h 3251189"/>
                  <a:gd name="connsiteX12" fmla="*/ 0 w 3251189"/>
                  <a:gd name="connsiteY12" fmla="*/ 1625591 h 3251189"/>
                  <a:gd name="connsiteX13" fmla="*/ 256123 w 3251189"/>
                  <a:gd name="connsiteY13" fmla="*/ 1258563 h 3251189"/>
                  <a:gd name="connsiteX14" fmla="*/ 217602 w 3251189"/>
                  <a:gd name="connsiteY14" fmla="*/ 812608 h 3251189"/>
                  <a:gd name="connsiteX15" fmla="*/ 623328 w 3251189"/>
                  <a:gd name="connsiteY15" fmla="*/ 623320 h 3251189"/>
                  <a:gd name="connsiteX16" fmla="*/ 812615 w 3251189"/>
                  <a:gd name="connsiteY16" fmla="*/ 217594 h 3251189"/>
                  <a:gd name="connsiteX17" fmla="*/ 1258571 w 3251189"/>
                  <a:gd name="connsiteY17" fmla="*/ 256123 h 3251189"/>
                  <a:gd name="connsiteX18" fmla="*/ 1625599 w 3251189"/>
                  <a:gd name="connsiteY18" fmla="*/ 0 h 3251189"/>
                  <a:gd name="connsiteX19" fmla="*/ 1992626 w 3251189"/>
                  <a:gd name="connsiteY19" fmla="*/ 256123 h 3251189"/>
                  <a:gd name="connsiteX20" fmla="*/ 2438582 w 3251189"/>
                  <a:gd name="connsiteY20" fmla="*/ 217602 h 3251189"/>
                  <a:gd name="connsiteX21" fmla="*/ 2627870 w 3251189"/>
                  <a:gd name="connsiteY21" fmla="*/ 623328 h 3251189"/>
                  <a:gd name="connsiteX22" fmla="*/ 3033595 w 3251189"/>
                  <a:gd name="connsiteY22" fmla="*/ 812615 h 3251189"/>
                  <a:gd name="connsiteX23" fmla="*/ 2995066 w 3251189"/>
                  <a:gd name="connsiteY23" fmla="*/ 1258571 h 3251189"/>
                  <a:gd name="connsiteX24" fmla="*/ 3251190 w 3251189"/>
                  <a:gd name="connsiteY24" fmla="*/ 1625599 h 3251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3251189" h="3251189">
                    <a:moveTo>
                      <a:pt x="3251190" y="1625599"/>
                    </a:moveTo>
                    <a:cubicBezTo>
                      <a:pt x="3251190" y="1761821"/>
                      <a:pt x="3028645" y="1866986"/>
                      <a:pt x="2995066" y="1992627"/>
                    </a:cubicBezTo>
                    <a:cubicBezTo>
                      <a:pt x="2960323" y="2122619"/>
                      <a:pt x="3099442" y="2324765"/>
                      <a:pt x="3033587" y="2438582"/>
                    </a:cubicBezTo>
                    <a:cubicBezTo>
                      <a:pt x="2966790" y="2554038"/>
                      <a:pt x="2721564" y="2534168"/>
                      <a:pt x="2627862" y="2627870"/>
                    </a:cubicBezTo>
                    <a:cubicBezTo>
                      <a:pt x="2534161" y="2721571"/>
                      <a:pt x="2554030" y="2966798"/>
                      <a:pt x="2438574" y="3033595"/>
                    </a:cubicBezTo>
                    <a:cubicBezTo>
                      <a:pt x="2324758" y="3099442"/>
                      <a:pt x="2122619" y="2960323"/>
                      <a:pt x="1992619" y="2995066"/>
                    </a:cubicBezTo>
                    <a:cubicBezTo>
                      <a:pt x="1866979" y="3028645"/>
                      <a:pt x="1761814" y="3251190"/>
                      <a:pt x="1625591" y="3251190"/>
                    </a:cubicBezTo>
                    <a:cubicBezTo>
                      <a:pt x="1489368" y="3251190"/>
                      <a:pt x="1384203" y="3028645"/>
                      <a:pt x="1258563" y="2995066"/>
                    </a:cubicBezTo>
                    <a:cubicBezTo>
                      <a:pt x="1128570" y="2960323"/>
                      <a:pt x="926424" y="3099442"/>
                      <a:pt x="812608" y="3033587"/>
                    </a:cubicBezTo>
                    <a:cubicBezTo>
                      <a:pt x="697152" y="2966790"/>
                      <a:pt x="717021" y="2721564"/>
                      <a:pt x="623320" y="2627862"/>
                    </a:cubicBezTo>
                    <a:cubicBezTo>
                      <a:pt x="529626" y="2534161"/>
                      <a:pt x="284392" y="2554031"/>
                      <a:pt x="217594" y="2438574"/>
                    </a:cubicBezTo>
                    <a:cubicBezTo>
                      <a:pt x="151748" y="2324758"/>
                      <a:pt x="290867" y="2122619"/>
                      <a:pt x="256123" y="1992619"/>
                    </a:cubicBezTo>
                    <a:cubicBezTo>
                      <a:pt x="222545" y="1866979"/>
                      <a:pt x="0" y="1761814"/>
                      <a:pt x="0" y="1625591"/>
                    </a:cubicBezTo>
                    <a:cubicBezTo>
                      <a:pt x="0" y="1489368"/>
                      <a:pt x="222545" y="1384203"/>
                      <a:pt x="256123" y="1258563"/>
                    </a:cubicBezTo>
                    <a:cubicBezTo>
                      <a:pt x="290867" y="1128570"/>
                      <a:pt x="151748" y="926424"/>
                      <a:pt x="217602" y="812608"/>
                    </a:cubicBezTo>
                    <a:cubicBezTo>
                      <a:pt x="284399" y="697151"/>
                      <a:pt x="529626" y="717021"/>
                      <a:pt x="623328" y="623320"/>
                    </a:cubicBezTo>
                    <a:cubicBezTo>
                      <a:pt x="717029" y="529626"/>
                      <a:pt x="697159" y="284392"/>
                      <a:pt x="812615" y="217594"/>
                    </a:cubicBezTo>
                    <a:cubicBezTo>
                      <a:pt x="926432" y="151748"/>
                      <a:pt x="1128570" y="290867"/>
                      <a:pt x="1258571" y="256123"/>
                    </a:cubicBezTo>
                    <a:cubicBezTo>
                      <a:pt x="1384211" y="222545"/>
                      <a:pt x="1489376" y="0"/>
                      <a:pt x="1625599" y="0"/>
                    </a:cubicBezTo>
                    <a:cubicBezTo>
                      <a:pt x="1761821" y="0"/>
                      <a:pt x="1866986" y="222545"/>
                      <a:pt x="1992626" y="256123"/>
                    </a:cubicBezTo>
                    <a:cubicBezTo>
                      <a:pt x="2122619" y="290867"/>
                      <a:pt x="2324765" y="151748"/>
                      <a:pt x="2438582" y="217602"/>
                    </a:cubicBezTo>
                    <a:cubicBezTo>
                      <a:pt x="2554038" y="284399"/>
                      <a:pt x="2534168" y="529626"/>
                      <a:pt x="2627870" y="623328"/>
                    </a:cubicBezTo>
                    <a:cubicBezTo>
                      <a:pt x="2721571" y="717029"/>
                      <a:pt x="2966798" y="697159"/>
                      <a:pt x="3033595" y="812615"/>
                    </a:cubicBezTo>
                    <a:cubicBezTo>
                      <a:pt x="3099442" y="926432"/>
                      <a:pt x="2960323" y="1128570"/>
                      <a:pt x="2995066" y="1258571"/>
                    </a:cubicBezTo>
                    <a:cubicBezTo>
                      <a:pt x="3028645" y="1384211"/>
                      <a:pt x="3251190" y="1489376"/>
                      <a:pt x="3251190" y="1625599"/>
                    </a:cubicBezTo>
                    <a:close/>
                  </a:path>
                </a:pathLst>
              </a:custGeom>
              <a:solidFill>
                <a:srgbClr val="F4F4F4"/>
              </a:solidFill>
              <a:ln w="7646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sv-SE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514350" fontAlgn="auto">
                  <a:spcBef>
                    <a:spcPts val="0"/>
                  </a:spcBef>
                  <a:spcAft>
                    <a:spcPts val="0"/>
                  </a:spcAft>
                </a:pPr>
                <a:endParaRPr lang="sv-SE" sz="76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90" name="Frihandsfigur: Form 389">
                <a:extLst>
                  <a:ext uri="{FF2B5EF4-FFF2-40B4-BE49-F238E27FC236}">
                    <a16:creationId xmlns:a16="http://schemas.microsoft.com/office/drawing/2014/main" id="{704D5EFD-092F-819B-FB99-0F8819A65007}"/>
                  </a:ext>
                </a:extLst>
              </p:cNvPr>
              <p:cNvSpPr/>
              <p:nvPr/>
            </p:nvSpPr>
            <p:spPr>
              <a:xfrm>
                <a:off x="6949464" y="2574020"/>
                <a:ext cx="1114634" cy="2918070"/>
              </a:xfrm>
              <a:custGeom>
                <a:avLst/>
                <a:gdLst>
                  <a:gd name="connsiteX0" fmla="*/ 833236 w 1089359"/>
                  <a:gd name="connsiteY0" fmla="*/ 1058922 h 2851899"/>
                  <a:gd name="connsiteX1" fmla="*/ 871765 w 1089359"/>
                  <a:gd name="connsiteY1" fmla="*/ 612967 h 2851899"/>
                  <a:gd name="connsiteX2" fmla="*/ 466040 w 1089359"/>
                  <a:gd name="connsiteY2" fmla="*/ 423679 h 2851899"/>
                  <a:gd name="connsiteX3" fmla="*/ 276752 w 1089359"/>
                  <a:gd name="connsiteY3" fmla="*/ 17954 h 2851899"/>
                  <a:gd name="connsiteX4" fmla="*/ 7 w 1089359"/>
                  <a:gd name="connsiteY4" fmla="*/ 41931 h 2851899"/>
                  <a:gd name="connsiteX5" fmla="*/ 159525 w 1089359"/>
                  <a:gd name="connsiteY5" fmla="*/ 423679 h 2851899"/>
                  <a:gd name="connsiteX6" fmla="*/ 565251 w 1089359"/>
                  <a:gd name="connsiteY6" fmla="*/ 612967 h 2851899"/>
                  <a:gd name="connsiteX7" fmla="*/ 526722 w 1089359"/>
                  <a:gd name="connsiteY7" fmla="*/ 1058922 h 2851899"/>
                  <a:gd name="connsiteX8" fmla="*/ 782845 w 1089359"/>
                  <a:gd name="connsiteY8" fmla="*/ 1425950 h 2851899"/>
                  <a:gd name="connsiteX9" fmla="*/ 526722 w 1089359"/>
                  <a:gd name="connsiteY9" fmla="*/ 1792978 h 2851899"/>
                  <a:gd name="connsiteX10" fmla="*/ 565243 w 1089359"/>
                  <a:gd name="connsiteY10" fmla="*/ 2238933 h 2851899"/>
                  <a:gd name="connsiteX11" fmla="*/ 159518 w 1089359"/>
                  <a:gd name="connsiteY11" fmla="*/ 2428221 h 2851899"/>
                  <a:gd name="connsiteX12" fmla="*/ 0 w 1089359"/>
                  <a:gd name="connsiteY12" fmla="*/ 2809970 h 2851899"/>
                  <a:gd name="connsiteX13" fmla="*/ 276744 w 1089359"/>
                  <a:gd name="connsiteY13" fmla="*/ 2833947 h 2851899"/>
                  <a:gd name="connsiteX14" fmla="*/ 466032 w 1089359"/>
                  <a:gd name="connsiteY14" fmla="*/ 2428221 h 2851899"/>
                  <a:gd name="connsiteX15" fmla="*/ 871757 w 1089359"/>
                  <a:gd name="connsiteY15" fmla="*/ 2238933 h 2851899"/>
                  <a:gd name="connsiteX16" fmla="*/ 833236 w 1089359"/>
                  <a:gd name="connsiteY16" fmla="*/ 1792978 h 2851899"/>
                  <a:gd name="connsiteX17" fmla="*/ 1089359 w 1089359"/>
                  <a:gd name="connsiteY17" fmla="*/ 1425950 h 2851899"/>
                  <a:gd name="connsiteX18" fmla="*/ 833236 w 1089359"/>
                  <a:gd name="connsiteY18" fmla="*/ 1058922 h 2851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89359" h="2851899">
                    <a:moveTo>
                      <a:pt x="833236" y="1058922"/>
                    </a:moveTo>
                    <a:cubicBezTo>
                      <a:pt x="798493" y="928929"/>
                      <a:pt x="937612" y="726783"/>
                      <a:pt x="871765" y="612967"/>
                    </a:cubicBezTo>
                    <a:cubicBezTo>
                      <a:pt x="804968" y="497511"/>
                      <a:pt x="559741" y="517380"/>
                      <a:pt x="466040" y="423679"/>
                    </a:cubicBezTo>
                    <a:cubicBezTo>
                      <a:pt x="372338" y="329977"/>
                      <a:pt x="392208" y="84751"/>
                      <a:pt x="276752" y="17954"/>
                    </a:cubicBezTo>
                    <a:cubicBezTo>
                      <a:pt x="205847" y="-23073"/>
                      <a:pt x="100667" y="15448"/>
                      <a:pt x="7" y="41931"/>
                    </a:cubicBezTo>
                    <a:cubicBezTo>
                      <a:pt x="82897" y="130575"/>
                      <a:pt x="74843" y="338997"/>
                      <a:pt x="159525" y="423679"/>
                    </a:cubicBezTo>
                    <a:cubicBezTo>
                      <a:pt x="253219" y="517380"/>
                      <a:pt x="498453" y="497511"/>
                      <a:pt x="565251" y="612967"/>
                    </a:cubicBezTo>
                    <a:cubicBezTo>
                      <a:pt x="631105" y="726783"/>
                      <a:pt x="491978" y="928922"/>
                      <a:pt x="526722" y="1058922"/>
                    </a:cubicBezTo>
                    <a:cubicBezTo>
                      <a:pt x="560300" y="1184562"/>
                      <a:pt x="782845" y="1289728"/>
                      <a:pt x="782845" y="1425950"/>
                    </a:cubicBezTo>
                    <a:cubicBezTo>
                      <a:pt x="782845" y="1562173"/>
                      <a:pt x="560300" y="1667338"/>
                      <a:pt x="526722" y="1792978"/>
                    </a:cubicBezTo>
                    <a:cubicBezTo>
                      <a:pt x="491978" y="1922971"/>
                      <a:pt x="631098" y="2125117"/>
                      <a:pt x="565243" y="2238933"/>
                    </a:cubicBezTo>
                    <a:cubicBezTo>
                      <a:pt x="498446" y="2354390"/>
                      <a:pt x="253219" y="2334520"/>
                      <a:pt x="159518" y="2428221"/>
                    </a:cubicBezTo>
                    <a:cubicBezTo>
                      <a:pt x="74835" y="2512903"/>
                      <a:pt x="82889" y="2721325"/>
                      <a:pt x="0" y="2809970"/>
                    </a:cubicBezTo>
                    <a:cubicBezTo>
                      <a:pt x="100659" y="2836452"/>
                      <a:pt x="205840" y="2874973"/>
                      <a:pt x="276744" y="2833947"/>
                    </a:cubicBezTo>
                    <a:cubicBezTo>
                      <a:pt x="392200" y="2767149"/>
                      <a:pt x="372331" y="2521923"/>
                      <a:pt x="466032" y="2428221"/>
                    </a:cubicBezTo>
                    <a:cubicBezTo>
                      <a:pt x="559733" y="2334520"/>
                      <a:pt x="804960" y="2354390"/>
                      <a:pt x="871757" y="2238933"/>
                    </a:cubicBezTo>
                    <a:cubicBezTo>
                      <a:pt x="937612" y="2125117"/>
                      <a:pt x="798485" y="1922978"/>
                      <a:pt x="833236" y="1792978"/>
                    </a:cubicBezTo>
                    <a:cubicBezTo>
                      <a:pt x="866815" y="1667338"/>
                      <a:pt x="1089359" y="1562173"/>
                      <a:pt x="1089359" y="1425950"/>
                    </a:cubicBezTo>
                    <a:cubicBezTo>
                      <a:pt x="1089367" y="1289728"/>
                      <a:pt x="866815" y="1184562"/>
                      <a:pt x="833236" y="1058922"/>
                    </a:cubicBezTo>
                    <a:close/>
                  </a:path>
                </a:pathLst>
              </a:custGeom>
              <a:solidFill>
                <a:srgbClr val="CFCFCF">
                  <a:alpha val="25098"/>
                </a:srgbClr>
              </a:solidFill>
              <a:ln w="7646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sv-SE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514350" fontAlgn="auto">
                  <a:spcBef>
                    <a:spcPts val="0"/>
                  </a:spcBef>
                  <a:spcAft>
                    <a:spcPts val="0"/>
                  </a:spcAft>
                </a:pPr>
                <a:endParaRPr lang="sv-SE" sz="76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91" name="Frihandsfigur: Form 390">
                <a:extLst>
                  <a:ext uri="{FF2B5EF4-FFF2-40B4-BE49-F238E27FC236}">
                    <a16:creationId xmlns:a16="http://schemas.microsoft.com/office/drawing/2014/main" id="{C689C94D-56E8-C92F-E1B3-42BA0FE2C32A}"/>
                  </a:ext>
                </a:extLst>
              </p:cNvPr>
              <p:cNvSpPr/>
              <p:nvPr/>
            </p:nvSpPr>
            <p:spPr>
              <a:xfrm>
                <a:off x="4678680" y="2310942"/>
                <a:ext cx="3444240" cy="3444234"/>
              </a:xfrm>
              <a:custGeom>
                <a:avLst/>
                <a:gdLst>
                  <a:gd name="connsiteX0" fmla="*/ 3216132 w 3366140"/>
                  <a:gd name="connsiteY0" fmla="*/ 1437583 h 3366132"/>
                  <a:gd name="connsiteX1" fmla="*/ 3108055 w 3366140"/>
                  <a:gd name="connsiteY1" fmla="*/ 1301199 h 3366132"/>
                  <a:gd name="connsiteX2" fmla="*/ 3133481 w 3366140"/>
                  <a:gd name="connsiteY2" fmla="*/ 1121735 h 3366132"/>
                  <a:gd name="connsiteX3" fmla="*/ 3140798 w 3366140"/>
                  <a:gd name="connsiteY3" fmla="*/ 841305 h 3366132"/>
                  <a:gd name="connsiteX4" fmla="*/ 2891533 w 3366140"/>
                  <a:gd name="connsiteY4" fmla="*/ 706194 h 3366132"/>
                  <a:gd name="connsiteX5" fmla="*/ 2725977 w 3366140"/>
                  <a:gd name="connsiteY5" fmla="*/ 640163 h 3366132"/>
                  <a:gd name="connsiteX6" fmla="*/ 2659939 w 3366140"/>
                  <a:gd name="connsiteY6" fmla="*/ 474591 h 3366132"/>
                  <a:gd name="connsiteX7" fmla="*/ 2524827 w 3366140"/>
                  <a:gd name="connsiteY7" fmla="*/ 225326 h 3366132"/>
                  <a:gd name="connsiteX8" fmla="*/ 2244398 w 3366140"/>
                  <a:gd name="connsiteY8" fmla="*/ 232644 h 3366132"/>
                  <a:gd name="connsiteX9" fmla="*/ 2064926 w 3366140"/>
                  <a:gd name="connsiteY9" fmla="*/ 258077 h 3366132"/>
                  <a:gd name="connsiteX10" fmla="*/ 1928542 w 3366140"/>
                  <a:gd name="connsiteY10" fmla="*/ 150008 h 3366132"/>
                  <a:gd name="connsiteX11" fmla="*/ 1683062 w 3366140"/>
                  <a:gd name="connsiteY11" fmla="*/ 0 h 3366132"/>
                  <a:gd name="connsiteX12" fmla="*/ 1437583 w 3366140"/>
                  <a:gd name="connsiteY12" fmla="*/ 150008 h 3366132"/>
                  <a:gd name="connsiteX13" fmla="*/ 1301199 w 3366140"/>
                  <a:gd name="connsiteY13" fmla="*/ 258077 h 3366132"/>
                  <a:gd name="connsiteX14" fmla="*/ 1121735 w 3366140"/>
                  <a:gd name="connsiteY14" fmla="*/ 232644 h 3366132"/>
                  <a:gd name="connsiteX15" fmla="*/ 740125 w 3366140"/>
                  <a:gd name="connsiteY15" fmla="*/ 359610 h 3366132"/>
                  <a:gd name="connsiteX16" fmla="*/ 847658 w 3366140"/>
                  <a:gd name="connsiteY16" fmla="*/ 400216 h 3366132"/>
                  <a:gd name="connsiteX17" fmla="*/ 1091007 w 3366140"/>
                  <a:gd name="connsiteY17" fmla="*/ 343403 h 3366132"/>
                  <a:gd name="connsiteX18" fmla="*/ 1330877 w 3366140"/>
                  <a:gd name="connsiteY18" fmla="*/ 369120 h 3366132"/>
                  <a:gd name="connsiteX19" fmla="*/ 1519759 w 3366140"/>
                  <a:gd name="connsiteY19" fmla="*/ 230368 h 3366132"/>
                  <a:gd name="connsiteX20" fmla="*/ 1683062 w 3366140"/>
                  <a:gd name="connsiteY20" fmla="*/ 114943 h 3366132"/>
                  <a:gd name="connsiteX21" fmla="*/ 1846365 w 3366140"/>
                  <a:gd name="connsiteY21" fmla="*/ 230368 h 3366132"/>
                  <a:gd name="connsiteX22" fmla="*/ 2035247 w 3366140"/>
                  <a:gd name="connsiteY22" fmla="*/ 369120 h 3366132"/>
                  <a:gd name="connsiteX23" fmla="*/ 2275118 w 3366140"/>
                  <a:gd name="connsiteY23" fmla="*/ 343411 h 3366132"/>
                  <a:gd name="connsiteX24" fmla="*/ 2467264 w 3366140"/>
                  <a:gd name="connsiteY24" fmla="*/ 324821 h 3366132"/>
                  <a:gd name="connsiteX25" fmla="*/ 2548590 w 3366140"/>
                  <a:gd name="connsiteY25" fmla="*/ 503151 h 3366132"/>
                  <a:gd name="connsiteX26" fmla="*/ 2644690 w 3366140"/>
                  <a:gd name="connsiteY26" fmla="*/ 721443 h 3366132"/>
                  <a:gd name="connsiteX27" fmla="*/ 2862974 w 3366140"/>
                  <a:gd name="connsiteY27" fmla="*/ 817543 h 3366132"/>
                  <a:gd name="connsiteX28" fmla="*/ 3041304 w 3366140"/>
                  <a:gd name="connsiteY28" fmla="*/ 898876 h 3366132"/>
                  <a:gd name="connsiteX29" fmla="*/ 3022714 w 3366140"/>
                  <a:gd name="connsiteY29" fmla="*/ 1091022 h 3366132"/>
                  <a:gd name="connsiteX30" fmla="*/ 2996997 w 3366140"/>
                  <a:gd name="connsiteY30" fmla="*/ 1330885 h 3366132"/>
                  <a:gd name="connsiteX31" fmla="*/ 3135756 w 3366140"/>
                  <a:gd name="connsiteY31" fmla="*/ 1519775 h 3366132"/>
                  <a:gd name="connsiteX32" fmla="*/ 3251182 w 3366140"/>
                  <a:gd name="connsiteY32" fmla="*/ 1683070 h 3366132"/>
                  <a:gd name="connsiteX33" fmla="*/ 3135756 w 3366140"/>
                  <a:gd name="connsiteY33" fmla="*/ 1846373 h 3366132"/>
                  <a:gd name="connsiteX34" fmla="*/ 2996997 w 3366140"/>
                  <a:gd name="connsiteY34" fmla="*/ 2035263 h 3366132"/>
                  <a:gd name="connsiteX35" fmla="*/ 3022714 w 3366140"/>
                  <a:gd name="connsiteY35" fmla="*/ 2275126 h 3366132"/>
                  <a:gd name="connsiteX36" fmla="*/ 3041296 w 3366140"/>
                  <a:gd name="connsiteY36" fmla="*/ 2467272 h 3366132"/>
                  <a:gd name="connsiteX37" fmla="*/ 2862974 w 3366140"/>
                  <a:gd name="connsiteY37" fmla="*/ 2548605 h 3366132"/>
                  <a:gd name="connsiteX38" fmla="*/ 2644682 w 3366140"/>
                  <a:gd name="connsiteY38" fmla="*/ 2644705 h 3366132"/>
                  <a:gd name="connsiteX39" fmla="*/ 2548590 w 3366140"/>
                  <a:gd name="connsiteY39" fmla="*/ 2862997 h 3366132"/>
                  <a:gd name="connsiteX40" fmla="*/ 2467264 w 3366140"/>
                  <a:gd name="connsiteY40" fmla="*/ 3041319 h 3366132"/>
                  <a:gd name="connsiteX41" fmla="*/ 2275118 w 3366140"/>
                  <a:gd name="connsiteY41" fmla="*/ 3022737 h 3366132"/>
                  <a:gd name="connsiteX42" fmla="*/ 2035247 w 3366140"/>
                  <a:gd name="connsiteY42" fmla="*/ 2997020 h 3366132"/>
                  <a:gd name="connsiteX43" fmla="*/ 1846365 w 3366140"/>
                  <a:gd name="connsiteY43" fmla="*/ 3135772 h 3366132"/>
                  <a:gd name="connsiteX44" fmla="*/ 1683062 w 3366140"/>
                  <a:gd name="connsiteY44" fmla="*/ 3251197 h 3366132"/>
                  <a:gd name="connsiteX45" fmla="*/ 1519759 w 3366140"/>
                  <a:gd name="connsiteY45" fmla="*/ 3135772 h 3366132"/>
                  <a:gd name="connsiteX46" fmla="*/ 1330877 w 3366140"/>
                  <a:gd name="connsiteY46" fmla="*/ 2997020 h 3366132"/>
                  <a:gd name="connsiteX47" fmla="*/ 1091007 w 3366140"/>
                  <a:gd name="connsiteY47" fmla="*/ 3022729 h 3366132"/>
                  <a:gd name="connsiteX48" fmla="*/ 898861 w 3366140"/>
                  <a:gd name="connsiteY48" fmla="*/ 3041319 h 3366132"/>
                  <a:gd name="connsiteX49" fmla="*/ 817535 w 3366140"/>
                  <a:gd name="connsiteY49" fmla="*/ 2862989 h 3366132"/>
                  <a:gd name="connsiteX50" fmla="*/ 721435 w 3366140"/>
                  <a:gd name="connsiteY50" fmla="*/ 2644698 h 3366132"/>
                  <a:gd name="connsiteX51" fmla="*/ 503151 w 3366140"/>
                  <a:gd name="connsiteY51" fmla="*/ 2548598 h 3366132"/>
                  <a:gd name="connsiteX52" fmla="*/ 324821 w 3366140"/>
                  <a:gd name="connsiteY52" fmla="*/ 2467264 h 3366132"/>
                  <a:gd name="connsiteX53" fmla="*/ 343411 w 3366140"/>
                  <a:gd name="connsiteY53" fmla="*/ 2275118 h 3366132"/>
                  <a:gd name="connsiteX54" fmla="*/ 369128 w 3366140"/>
                  <a:gd name="connsiteY54" fmla="*/ 2035255 h 3366132"/>
                  <a:gd name="connsiteX55" fmla="*/ 230368 w 3366140"/>
                  <a:gd name="connsiteY55" fmla="*/ 1846366 h 3366132"/>
                  <a:gd name="connsiteX56" fmla="*/ 114943 w 3366140"/>
                  <a:gd name="connsiteY56" fmla="*/ 1683070 h 3366132"/>
                  <a:gd name="connsiteX57" fmla="*/ 230368 w 3366140"/>
                  <a:gd name="connsiteY57" fmla="*/ 1519767 h 3366132"/>
                  <a:gd name="connsiteX58" fmla="*/ 369128 w 3366140"/>
                  <a:gd name="connsiteY58" fmla="*/ 1330877 h 3366132"/>
                  <a:gd name="connsiteX59" fmla="*/ 343411 w 3366140"/>
                  <a:gd name="connsiteY59" fmla="*/ 1091015 h 3366132"/>
                  <a:gd name="connsiteX60" fmla="*/ 324829 w 3366140"/>
                  <a:gd name="connsiteY60" fmla="*/ 898868 h 3366132"/>
                  <a:gd name="connsiteX61" fmla="*/ 503151 w 3366140"/>
                  <a:gd name="connsiteY61" fmla="*/ 817535 h 3366132"/>
                  <a:gd name="connsiteX62" fmla="*/ 775949 w 3366140"/>
                  <a:gd name="connsiteY62" fmla="*/ 637052 h 3366132"/>
                  <a:gd name="connsiteX63" fmla="*/ 670393 w 3366140"/>
                  <a:gd name="connsiteY63" fmla="*/ 591550 h 3366132"/>
                  <a:gd name="connsiteX64" fmla="*/ 474599 w 3366140"/>
                  <a:gd name="connsiteY64" fmla="*/ 706194 h 3366132"/>
                  <a:gd name="connsiteX65" fmla="*/ 225334 w 3366140"/>
                  <a:gd name="connsiteY65" fmla="*/ 841305 h 3366132"/>
                  <a:gd name="connsiteX66" fmla="*/ 232652 w 3366140"/>
                  <a:gd name="connsiteY66" fmla="*/ 1121735 h 3366132"/>
                  <a:gd name="connsiteX67" fmla="*/ 258077 w 3366140"/>
                  <a:gd name="connsiteY67" fmla="*/ 1301199 h 3366132"/>
                  <a:gd name="connsiteX68" fmla="*/ 150008 w 3366140"/>
                  <a:gd name="connsiteY68" fmla="*/ 1437583 h 3366132"/>
                  <a:gd name="connsiteX69" fmla="*/ 0 w 3366140"/>
                  <a:gd name="connsiteY69" fmla="*/ 1683070 h 3366132"/>
                  <a:gd name="connsiteX70" fmla="*/ 150000 w 3366140"/>
                  <a:gd name="connsiteY70" fmla="*/ 1928550 h 3366132"/>
                  <a:gd name="connsiteX71" fmla="*/ 258077 w 3366140"/>
                  <a:gd name="connsiteY71" fmla="*/ 2064933 h 3366132"/>
                  <a:gd name="connsiteX72" fmla="*/ 232652 w 3366140"/>
                  <a:gd name="connsiteY72" fmla="*/ 2244397 h 3366132"/>
                  <a:gd name="connsiteX73" fmla="*/ 225334 w 3366140"/>
                  <a:gd name="connsiteY73" fmla="*/ 2524827 h 3366132"/>
                  <a:gd name="connsiteX74" fmla="*/ 474599 w 3366140"/>
                  <a:gd name="connsiteY74" fmla="*/ 2659939 h 3366132"/>
                  <a:gd name="connsiteX75" fmla="*/ 640155 w 3366140"/>
                  <a:gd name="connsiteY75" fmla="*/ 2725970 h 3366132"/>
                  <a:gd name="connsiteX76" fmla="*/ 706194 w 3366140"/>
                  <a:gd name="connsiteY76" fmla="*/ 2891541 h 3366132"/>
                  <a:gd name="connsiteX77" fmla="*/ 841305 w 3366140"/>
                  <a:gd name="connsiteY77" fmla="*/ 3140806 h 3366132"/>
                  <a:gd name="connsiteX78" fmla="*/ 1121735 w 3366140"/>
                  <a:gd name="connsiteY78" fmla="*/ 3133488 h 3366132"/>
                  <a:gd name="connsiteX79" fmla="*/ 1301207 w 3366140"/>
                  <a:gd name="connsiteY79" fmla="*/ 3108055 h 3366132"/>
                  <a:gd name="connsiteX80" fmla="*/ 1437590 w 3366140"/>
                  <a:gd name="connsiteY80" fmla="*/ 3216124 h 3366132"/>
                  <a:gd name="connsiteX81" fmla="*/ 1683070 w 3366140"/>
                  <a:gd name="connsiteY81" fmla="*/ 3366133 h 3366132"/>
                  <a:gd name="connsiteX82" fmla="*/ 1928550 w 3366140"/>
                  <a:gd name="connsiteY82" fmla="*/ 3216124 h 3366132"/>
                  <a:gd name="connsiteX83" fmla="*/ 2064933 w 3366140"/>
                  <a:gd name="connsiteY83" fmla="*/ 3108055 h 3366132"/>
                  <a:gd name="connsiteX84" fmla="*/ 2244398 w 3366140"/>
                  <a:gd name="connsiteY84" fmla="*/ 3133488 h 3366132"/>
                  <a:gd name="connsiteX85" fmla="*/ 2524835 w 3366140"/>
                  <a:gd name="connsiteY85" fmla="*/ 3140806 h 3366132"/>
                  <a:gd name="connsiteX86" fmla="*/ 2659939 w 3366140"/>
                  <a:gd name="connsiteY86" fmla="*/ 2891549 h 3366132"/>
                  <a:gd name="connsiteX87" fmla="*/ 2725977 w 3366140"/>
                  <a:gd name="connsiteY87" fmla="*/ 2725977 h 3366132"/>
                  <a:gd name="connsiteX88" fmla="*/ 2891541 w 3366140"/>
                  <a:gd name="connsiteY88" fmla="*/ 2659947 h 3366132"/>
                  <a:gd name="connsiteX89" fmla="*/ 3140806 w 3366140"/>
                  <a:gd name="connsiteY89" fmla="*/ 2524835 h 3366132"/>
                  <a:gd name="connsiteX90" fmla="*/ 3133488 w 3366140"/>
                  <a:gd name="connsiteY90" fmla="*/ 2244405 h 3366132"/>
                  <a:gd name="connsiteX91" fmla="*/ 3108063 w 3366140"/>
                  <a:gd name="connsiteY91" fmla="*/ 2064941 h 3366132"/>
                  <a:gd name="connsiteX92" fmla="*/ 3216132 w 3366140"/>
                  <a:gd name="connsiteY92" fmla="*/ 1928557 h 3366132"/>
                  <a:gd name="connsiteX93" fmla="*/ 3366140 w 3366140"/>
                  <a:gd name="connsiteY93" fmla="*/ 1683070 h 3366132"/>
                  <a:gd name="connsiteX94" fmla="*/ 3216132 w 3366140"/>
                  <a:gd name="connsiteY94" fmla="*/ 1437583 h 3366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</a:cxnLst>
                <a:rect l="l" t="t" r="r" b="b"/>
                <a:pathLst>
                  <a:path w="3366140" h="3366132">
                    <a:moveTo>
                      <a:pt x="3216132" y="1437583"/>
                    </a:moveTo>
                    <a:cubicBezTo>
                      <a:pt x="3168461" y="1390970"/>
                      <a:pt x="3119174" y="1342778"/>
                      <a:pt x="3108055" y="1301199"/>
                    </a:cubicBezTo>
                    <a:cubicBezTo>
                      <a:pt x="3096101" y="1256502"/>
                      <a:pt x="3115105" y="1187988"/>
                      <a:pt x="3133481" y="1121735"/>
                    </a:cubicBezTo>
                    <a:cubicBezTo>
                      <a:pt x="3160492" y="1024348"/>
                      <a:pt x="3188431" y="923635"/>
                      <a:pt x="3140798" y="841305"/>
                    </a:cubicBezTo>
                    <a:cubicBezTo>
                      <a:pt x="3092438" y="757726"/>
                      <a:pt x="2990300" y="731527"/>
                      <a:pt x="2891533" y="706194"/>
                    </a:cubicBezTo>
                    <a:cubicBezTo>
                      <a:pt x="2825725" y="689312"/>
                      <a:pt x="2757671" y="671864"/>
                      <a:pt x="2725977" y="640163"/>
                    </a:cubicBezTo>
                    <a:cubicBezTo>
                      <a:pt x="2694268" y="608462"/>
                      <a:pt x="2676820" y="540408"/>
                      <a:pt x="2659939" y="474591"/>
                    </a:cubicBezTo>
                    <a:cubicBezTo>
                      <a:pt x="2634598" y="375817"/>
                      <a:pt x="2608406" y="273687"/>
                      <a:pt x="2524827" y="225326"/>
                    </a:cubicBezTo>
                    <a:cubicBezTo>
                      <a:pt x="2442505" y="177694"/>
                      <a:pt x="2341792" y="205633"/>
                      <a:pt x="2244398" y="232644"/>
                    </a:cubicBezTo>
                    <a:cubicBezTo>
                      <a:pt x="2178144" y="251028"/>
                      <a:pt x="2109631" y="270024"/>
                      <a:pt x="2064926" y="258077"/>
                    </a:cubicBezTo>
                    <a:cubicBezTo>
                      <a:pt x="2023347" y="246966"/>
                      <a:pt x="1975155" y="197671"/>
                      <a:pt x="1928542" y="150008"/>
                    </a:cubicBezTo>
                    <a:cubicBezTo>
                      <a:pt x="1859791" y="79694"/>
                      <a:pt x="1781875" y="0"/>
                      <a:pt x="1683062" y="0"/>
                    </a:cubicBezTo>
                    <a:cubicBezTo>
                      <a:pt x="1584250" y="0"/>
                      <a:pt x="1506334" y="79694"/>
                      <a:pt x="1437583" y="150008"/>
                    </a:cubicBezTo>
                    <a:cubicBezTo>
                      <a:pt x="1390970" y="197671"/>
                      <a:pt x="1342778" y="246966"/>
                      <a:pt x="1301199" y="258077"/>
                    </a:cubicBezTo>
                    <a:cubicBezTo>
                      <a:pt x="1256494" y="270024"/>
                      <a:pt x="1187988" y="251020"/>
                      <a:pt x="1121735" y="232644"/>
                    </a:cubicBezTo>
                    <a:cubicBezTo>
                      <a:pt x="962179" y="188391"/>
                      <a:pt x="806968" y="182637"/>
                      <a:pt x="740125" y="359610"/>
                    </a:cubicBezTo>
                    <a:cubicBezTo>
                      <a:pt x="713880" y="429128"/>
                      <a:pt x="821420" y="469733"/>
                      <a:pt x="847658" y="400216"/>
                    </a:cubicBezTo>
                    <a:cubicBezTo>
                      <a:pt x="891497" y="284077"/>
                      <a:pt x="993022" y="316223"/>
                      <a:pt x="1091007" y="343403"/>
                    </a:cubicBezTo>
                    <a:cubicBezTo>
                      <a:pt x="1172103" y="365901"/>
                      <a:pt x="1255950" y="389151"/>
                      <a:pt x="1330877" y="369120"/>
                    </a:cubicBezTo>
                    <a:cubicBezTo>
                      <a:pt x="1402916" y="349863"/>
                      <a:pt x="1462318" y="289112"/>
                      <a:pt x="1519759" y="230368"/>
                    </a:cubicBezTo>
                    <a:cubicBezTo>
                      <a:pt x="1575238" y="173625"/>
                      <a:pt x="1632618" y="114943"/>
                      <a:pt x="1683062" y="114943"/>
                    </a:cubicBezTo>
                    <a:cubicBezTo>
                      <a:pt x="1733507" y="114943"/>
                      <a:pt x="1790879" y="173617"/>
                      <a:pt x="1846365" y="230368"/>
                    </a:cubicBezTo>
                    <a:cubicBezTo>
                      <a:pt x="1903806" y="289120"/>
                      <a:pt x="1963209" y="349871"/>
                      <a:pt x="2035247" y="369120"/>
                    </a:cubicBezTo>
                    <a:cubicBezTo>
                      <a:pt x="2110175" y="389166"/>
                      <a:pt x="2194037" y="365894"/>
                      <a:pt x="2275118" y="343411"/>
                    </a:cubicBezTo>
                    <a:cubicBezTo>
                      <a:pt x="2349654" y="322737"/>
                      <a:pt x="2426712" y="301357"/>
                      <a:pt x="2467264" y="324821"/>
                    </a:cubicBezTo>
                    <a:cubicBezTo>
                      <a:pt x="2509057" y="349005"/>
                      <a:pt x="2529157" y="427365"/>
                      <a:pt x="2548590" y="503151"/>
                    </a:cubicBezTo>
                    <a:cubicBezTo>
                      <a:pt x="2569318" y="583948"/>
                      <a:pt x="2590743" y="667496"/>
                      <a:pt x="2644690" y="721443"/>
                    </a:cubicBezTo>
                    <a:cubicBezTo>
                      <a:pt x="2698636" y="775389"/>
                      <a:pt x="2782185" y="796815"/>
                      <a:pt x="2862974" y="817543"/>
                    </a:cubicBezTo>
                    <a:cubicBezTo>
                      <a:pt x="2938760" y="836983"/>
                      <a:pt x="3017120" y="857083"/>
                      <a:pt x="3041304" y="898876"/>
                    </a:cubicBezTo>
                    <a:cubicBezTo>
                      <a:pt x="3064768" y="939428"/>
                      <a:pt x="3043381" y="1016493"/>
                      <a:pt x="3022714" y="1091022"/>
                    </a:cubicBezTo>
                    <a:cubicBezTo>
                      <a:pt x="3000216" y="1172103"/>
                      <a:pt x="2976967" y="1255942"/>
                      <a:pt x="2996997" y="1330885"/>
                    </a:cubicBezTo>
                    <a:cubicBezTo>
                      <a:pt x="3016254" y="1402924"/>
                      <a:pt x="3077005" y="1462334"/>
                      <a:pt x="3135756" y="1519775"/>
                    </a:cubicBezTo>
                    <a:cubicBezTo>
                      <a:pt x="3192500" y="1575254"/>
                      <a:pt x="3251182" y="1632633"/>
                      <a:pt x="3251182" y="1683070"/>
                    </a:cubicBezTo>
                    <a:cubicBezTo>
                      <a:pt x="3251182" y="1733515"/>
                      <a:pt x="3192508" y="1790887"/>
                      <a:pt x="3135756" y="1846373"/>
                    </a:cubicBezTo>
                    <a:cubicBezTo>
                      <a:pt x="3077005" y="1903822"/>
                      <a:pt x="3016246" y="1963224"/>
                      <a:pt x="2996997" y="2035263"/>
                    </a:cubicBezTo>
                    <a:cubicBezTo>
                      <a:pt x="2976974" y="2110205"/>
                      <a:pt x="3000223" y="2194045"/>
                      <a:pt x="3022714" y="2275126"/>
                    </a:cubicBezTo>
                    <a:cubicBezTo>
                      <a:pt x="3043381" y="2349654"/>
                      <a:pt x="3064760" y="2426720"/>
                      <a:pt x="3041296" y="2467272"/>
                    </a:cubicBezTo>
                    <a:cubicBezTo>
                      <a:pt x="3017120" y="2509065"/>
                      <a:pt x="2938752" y="2529164"/>
                      <a:pt x="2862974" y="2548605"/>
                    </a:cubicBezTo>
                    <a:cubicBezTo>
                      <a:pt x="2782177" y="2569326"/>
                      <a:pt x="2698629" y="2590751"/>
                      <a:pt x="2644682" y="2644705"/>
                    </a:cubicBezTo>
                    <a:cubicBezTo>
                      <a:pt x="2590736" y="2698659"/>
                      <a:pt x="2569310" y="2782200"/>
                      <a:pt x="2548590" y="2862997"/>
                    </a:cubicBezTo>
                    <a:cubicBezTo>
                      <a:pt x="2529157" y="2938783"/>
                      <a:pt x="2509057" y="3017143"/>
                      <a:pt x="2467264" y="3041319"/>
                    </a:cubicBezTo>
                    <a:cubicBezTo>
                      <a:pt x="2426697" y="3064791"/>
                      <a:pt x="2349631" y="3043403"/>
                      <a:pt x="2275118" y="3022737"/>
                    </a:cubicBezTo>
                    <a:cubicBezTo>
                      <a:pt x="2194029" y="3000246"/>
                      <a:pt x="2110190" y="2977005"/>
                      <a:pt x="2035247" y="2997020"/>
                    </a:cubicBezTo>
                    <a:cubicBezTo>
                      <a:pt x="1963209" y="3016277"/>
                      <a:pt x="1903806" y="3077028"/>
                      <a:pt x="1846365" y="3135772"/>
                    </a:cubicBezTo>
                    <a:cubicBezTo>
                      <a:pt x="1790886" y="3192515"/>
                      <a:pt x="1733507" y="3251197"/>
                      <a:pt x="1683062" y="3251197"/>
                    </a:cubicBezTo>
                    <a:cubicBezTo>
                      <a:pt x="1632618" y="3251197"/>
                      <a:pt x="1575246" y="3192523"/>
                      <a:pt x="1519759" y="3135772"/>
                    </a:cubicBezTo>
                    <a:cubicBezTo>
                      <a:pt x="1462318" y="3077021"/>
                      <a:pt x="1402916" y="3016269"/>
                      <a:pt x="1330877" y="2997020"/>
                    </a:cubicBezTo>
                    <a:cubicBezTo>
                      <a:pt x="1255950" y="2976982"/>
                      <a:pt x="1172088" y="3000246"/>
                      <a:pt x="1091007" y="3022729"/>
                    </a:cubicBezTo>
                    <a:cubicBezTo>
                      <a:pt x="1016463" y="3043403"/>
                      <a:pt x="939390" y="3064775"/>
                      <a:pt x="898861" y="3041319"/>
                    </a:cubicBezTo>
                    <a:cubicBezTo>
                      <a:pt x="857068" y="3017135"/>
                      <a:pt x="836968" y="2938775"/>
                      <a:pt x="817535" y="2862989"/>
                    </a:cubicBezTo>
                    <a:cubicBezTo>
                      <a:pt x="796807" y="2782192"/>
                      <a:pt x="775382" y="2698644"/>
                      <a:pt x="721435" y="2644698"/>
                    </a:cubicBezTo>
                    <a:cubicBezTo>
                      <a:pt x="667489" y="2590751"/>
                      <a:pt x="583940" y="2569326"/>
                      <a:pt x="503151" y="2548598"/>
                    </a:cubicBezTo>
                    <a:cubicBezTo>
                      <a:pt x="427365" y="2529157"/>
                      <a:pt x="349005" y="2509057"/>
                      <a:pt x="324821" y="2467264"/>
                    </a:cubicBezTo>
                    <a:cubicBezTo>
                      <a:pt x="301357" y="2426712"/>
                      <a:pt x="322744" y="2349647"/>
                      <a:pt x="343411" y="2275118"/>
                    </a:cubicBezTo>
                    <a:cubicBezTo>
                      <a:pt x="365909" y="2194037"/>
                      <a:pt x="389158" y="2110198"/>
                      <a:pt x="369128" y="2035255"/>
                    </a:cubicBezTo>
                    <a:cubicBezTo>
                      <a:pt x="349871" y="1963216"/>
                      <a:pt x="289120" y="1903806"/>
                      <a:pt x="230368" y="1846366"/>
                    </a:cubicBezTo>
                    <a:cubicBezTo>
                      <a:pt x="173625" y="1790887"/>
                      <a:pt x="114943" y="1733507"/>
                      <a:pt x="114943" y="1683070"/>
                    </a:cubicBezTo>
                    <a:cubicBezTo>
                      <a:pt x="114943" y="1632625"/>
                      <a:pt x="173617" y="1575254"/>
                      <a:pt x="230368" y="1519767"/>
                    </a:cubicBezTo>
                    <a:cubicBezTo>
                      <a:pt x="289120" y="1462318"/>
                      <a:pt x="349878" y="1402916"/>
                      <a:pt x="369128" y="1330877"/>
                    </a:cubicBezTo>
                    <a:cubicBezTo>
                      <a:pt x="389151" y="1255935"/>
                      <a:pt x="365901" y="1172095"/>
                      <a:pt x="343411" y="1091015"/>
                    </a:cubicBezTo>
                    <a:cubicBezTo>
                      <a:pt x="322744" y="1016486"/>
                      <a:pt x="301365" y="939420"/>
                      <a:pt x="324829" y="898868"/>
                    </a:cubicBezTo>
                    <a:cubicBezTo>
                      <a:pt x="349005" y="857075"/>
                      <a:pt x="427373" y="836976"/>
                      <a:pt x="503151" y="817535"/>
                    </a:cubicBezTo>
                    <a:cubicBezTo>
                      <a:pt x="617419" y="788232"/>
                      <a:pt x="725611" y="753803"/>
                      <a:pt x="775949" y="637052"/>
                    </a:cubicBezTo>
                    <a:cubicBezTo>
                      <a:pt x="805366" y="568814"/>
                      <a:pt x="699810" y="523320"/>
                      <a:pt x="670393" y="591550"/>
                    </a:cubicBezTo>
                    <a:cubicBezTo>
                      <a:pt x="635688" y="672094"/>
                      <a:pt x="551297" y="686523"/>
                      <a:pt x="474599" y="706194"/>
                    </a:cubicBezTo>
                    <a:cubicBezTo>
                      <a:pt x="375825" y="731527"/>
                      <a:pt x="273687" y="757726"/>
                      <a:pt x="225334" y="841305"/>
                    </a:cubicBezTo>
                    <a:cubicBezTo>
                      <a:pt x="177702" y="923635"/>
                      <a:pt x="205640" y="1024340"/>
                      <a:pt x="232652" y="1121735"/>
                    </a:cubicBezTo>
                    <a:cubicBezTo>
                      <a:pt x="251028" y="1187988"/>
                      <a:pt x="270031" y="1256494"/>
                      <a:pt x="258077" y="1301199"/>
                    </a:cubicBezTo>
                    <a:cubicBezTo>
                      <a:pt x="246974" y="1342778"/>
                      <a:pt x="197679" y="1390970"/>
                      <a:pt x="150008" y="1437583"/>
                    </a:cubicBezTo>
                    <a:cubicBezTo>
                      <a:pt x="79694" y="1506334"/>
                      <a:pt x="0" y="1584258"/>
                      <a:pt x="0" y="1683070"/>
                    </a:cubicBezTo>
                    <a:cubicBezTo>
                      <a:pt x="0" y="1781883"/>
                      <a:pt x="79694" y="1859799"/>
                      <a:pt x="150000" y="1928550"/>
                    </a:cubicBezTo>
                    <a:cubicBezTo>
                      <a:pt x="197671" y="1975163"/>
                      <a:pt x="246959" y="2023354"/>
                      <a:pt x="258077" y="2064933"/>
                    </a:cubicBezTo>
                    <a:cubicBezTo>
                      <a:pt x="270031" y="2109631"/>
                      <a:pt x="251028" y="2178144"/>
                      <a:pt x="232652" y="2244397"/>
                    </a:cubicBezTo>
                    <a:cubicBezTo>
                      <a:pt x="205640" y="2341785"/>
                      <a:pt x="177702" y="2442498"/>
                      <a:pt x="225334" y="2524827"/>
                    </a:cubicBezTo>
                    <a:cubicBezTo>
                      <a:pt x="273694" y="2608406"/>
                      <a:pt x="375833" y="2634605"/>
                      <a:pt x="474599" y="2659939"/>
                    </a:cubicBezTo>
                    <a:cubicBezTo>
                      <a:pt x="540408" y="2676820"/>
                      <a:pt x="608462" y="2694268"/>
                      <a:pt x="640155" y="2725970"/>
                    </a:cubicBezTo>
                    <a:cubicBezTo>
                      <a:pt x="671864" y="2757671"/>
                      <a:pt x="689312" y="2825725"/>
                      <a:pt x="706194" y="2891541"/>
                    </a:cubicBezTo>
                    <a:cubicBezTo>
                      <a:pt x="731535" y="2990315"/>
                      <a:pt x="757726" y="3092446"/>
                      <a:pt x="841305" y="3140806"/>
                    </a:cubicBezTo>
                    <a:cubicBezTo>
                      <a:pt x="923635" y="3188446"/>
                      <a:pt x="1024348" y="3160500"/>
                      <a:pt x="1121735" y="3133488"/>
                    </a:cubicBezTo>
                    <a:cubicBezTo>
                      <a:pt x="1187988" y="3115105"/>
                      <a:pt x="1256502" y="3096116"/>
                      <a:pt x="1301207" y="3108055"/>
                    </a:cubicBezTo>
                    <a:cubicBezTo>
                      <a:pt x="1342786" y="3119166"/>
                      <a:pt x="1390977" y="3168461"/>
                      <a:pt x="1437590" y="3216124"/>
                    </a:cubicBezTo>
                    <a:cubicBezTo>
                      <a:pt x="1506342" y="3286439"/>
                      <a:pt x="1584258" y="3366133"/>
                      <a:pt x="1683070" y="3366133"/>
                    </a:cubicBezTo>
                    <a:cubicBezTo>
                      <a:pt x="1781883" y="3366133"/>
                      <a:pt x="1859799" y="3286439"/>
                      <a:pt x="1928550" y="3216124"/>
                    </a:cubicBezTo>
                    <a:cubicBezTo>
                      <a:pt x="1975163" y="3168461"/>
                      <a:pt x="2023355" y="3119166"/>
                      <a:pt x="2064933" y="3108055"/>
                    </a:cubicBezTo>
                    <a:cubicBezTo>
                      <a:pt x="2109631" y="3096109"/>
                      <a:pt x="2178144" y="3115112"/>
                      <a:pt x="2244398" y="3133488"/>
                    </a:cubicBezTo>
                    <a:cubicBezTo>
                      <a:pt x="2341792" y="3160507"/>
                      <a:pt x="2442513" y="3188446"/>
                      <a:pt x="2524835" y="3140806"/>
                    </a:cubicBezTo>
                    <a:cubicBezTo>
                      <a:pt x="2608414" y="3092453"/>
                      <a:pt x="2634606" y="2990315"/>
                      <a:pt x="2659939" y="2891549"/>
                    </a:cubicBezTo>
                    <a:cubicBezTo>
                      <a:pt x="2676820" y="2825733"/>
                      <a:pt x="2694268" y="2757679"/>
                      <a:pt x="2725977" y="2725977"/>
                    </a:cubicBezTo>
                    <a:cubicBezTo>
                      <a:pt x="2757678" y="2694276"/>
                      <a:pt x="2825732" y="2676820"/>
                      <a:pt x="2891541" y="2659947"/>
                    </a:cubicBezTo>
                    <a:cubicBezTo>
                      <a:pt x="2990315" y="2634613"/>
                      <a:pt x="3092454" y="2608414"/>
                      <a:pt x="3140806" y="2524835"/>
                    </a:cubicBezTo>
                    <a:cubicBezTo>
                      <a:pt x="3188439" y="2442505"/>
                      <a:pt x="3160500" y="2341800"/>
                      <a:pt x="3133488" y="2244405"/>
                    </a:cubicBezTo>
                    <a:cubicBezTo>
                      <a:pt x="3115113" y="2178152"/>
                      <a:pt x="3096109" y="2109646"/>
                      <a:pt x="3108063" y="2064941"/>
                    </a:cubicBezTo>
                    <a:cubicBezTo>
                      <a:pt x="3119166" y="2023362"/>
                      <a:pt x="3168461" y="1975170"/>
                      <a:pt x="3216132" y="1928557"/>
                    </a:cubicBezTo>
                    <a:cubicBezTo>
                      <a:pt x="3286447" y="1859806"/>
                      <a:pt x="3366140" y="1781883"/>
                      <a:pt x="3366140" y="1683070"/>
                    </a:cubicBezTo>
                    <a:cubicBezTo>
                      <a:pt x="3366140" y="1584258"/>
                      <a:pt x="3286439" y="1506326"/>
                      <a:pt x="3216132" y="1437583"/>
                    </a:cubicBezTo>
                    <a:close/>
                  </a:path>
                </a:pathLst>
              </a:custGeom>
              <a:solidFill>
                <a:srgbClr val="060606"/>
              </a:solidFill>
              <a:ln w="7646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sv-SE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514350" fontAlgn="auto">
                  <a:spcBef>
                    <a:spcPts val="0"/>
                  </a:spcBef>
                  <a:spcAft>
                    <a:spcPts val="0"/>
                  </a:spcAft>
                </a:pPr>
                <a:endParaRPr lang="sv-SE" sz="76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92" name="Frihandsfigur: Form 391">
                <a:extLst>
                  <a:ext uri="{FF2B5EF4-FFF2-40B4-BE49-F238E27FC236}">
                    <a16:creationId xmlns:a16="http://schemas.microsoft.com/office/drawing/2014/main" id="{26DA0389-8176-CE9F-2CEA-36D14BEA6FC7}"/>
                  </a:ext>
                </a:extLst>
              </p:cNvPr>
              <p:cNvSpPr/>
              <p:nvPr/>
            </p:nvSpPr>
            <p:spPr>
              <a:xfrm>
                <a:off x="5668849" y="3329029"/>
                <a:ext cx="1463901" cy="1408062"/>
              </a:xfrm>
              <a:custGeom>
                <a:avLst/>
                <a:gdLst>
                  <a:gd name="connsiteX0" fmla="*/ 2245568 w 2873485"/>
                  <a:gd name="connsiteY0" fmla="*/ 0 h 2519680"/>
                  <a:gd name="connsiteX1" fmla="*/ 2783190 w 2873485"/>
                  <a:gd name="connsiteY1" fmla="*/ 0 h 2519680"/>
                  <a:gd name="connsiteX2" fmla="*/ 2864660 w 2873485"/>
                  <a:gd name="connsiteY2" fmla="*/ 46234 h 2519680"/>
                  <a:gd name="connsiteX3" fmla="*/ 2853452 w 2873485"/>
                  <a:gd name="connsiteY3" fmla="*/ 132324 h 2519680"/>
                  <a:gd name="connsiteX4" fmla="*/ 768439 w 2873485"/>
                  <a:gd name="connsiteY4" fmla="*/ 2459208 h 2519680"/>
                  <a:gd name="connsiteX5" fmla="*/ 627915 w 2873485"/>
                  <a:gd name="connsiteY5" fmla="*/ 2519680 h 2519680"/>
                  <a:gd name="connsiteX6" fmla="*/ 90293 w 2873485"/>
                  <a:gd name="connsiteY6" fmla="*/ 2519680 h 2519680"/>
                  <a:gd name="connsiteX7" fmla="*/ 8823 w 2873485"/>
                  <a:gd name="connsiteY7" fmla="*/ 2473448 h 2519680"/>
                  <a:gd name="connsiteX8" fmla="*/ 20031 w 2873485"/>
                  <a:gd name="connsiteY8" fmla="*/ 2387356 h 2519680"/>
                  <a:gd name="connsiteX9" fmla="*/ 2105044 w 2873485"/>
                  <a:gd name="connsiteY9" fmla="*/ 60472 h 2519680"/>
                  <a:gd name="connsiteX10" fmla="*/ 2245568 w 2873485"/>
                  <a:gd name="connsiteY10" fmla="*/ 0 h 2519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873485" h="2519680">
                    <a:moveTo>
                      <a:pt x="2245568" y="0"/>
                    </a:moveTo>
                    <a:lnTo>
                      <a:pt x="2783190" y="0"/>
                    </a:lnTo>
                    <a:cubicBezTo>
                      <a:pt x="2817969" y="7"/>
                      <a:pt x="2849659" y="17990"/>
                      <a:pt x="2864660" y="46234"/>
                    </a:cubicBezTo>
                    <a:cubicBezTo>
                      <a:pt x="2879651" y="74478"/>
                      <a:pt x="2875298" y="107963"/>
                      <a:pt x="2853452" y="132324"/>
                    </a:cubicBezTo>
                    <a:lnTo>
                      <a:pt x="768439" y="2459208"/>
                    </a:lnTo>
                    <a:cubicBezTo>
                      <a:pt x="734157" y="2497442"/>
                      <a:pt x="682499" y="2519672"/>
                      <a:pt x="627915" y="2519680"/>
                    </a:cubicBezTo>
                    <a:lnTo>
                      <a:pt x="90293" y="2519680"/>
                    </a:lnTo>
                    <a:cubicBezTo>
                      <a:pt x="55514" y="2519672"/>
                      <a:pt x="23824" y="2501693"/>
                      <a:pt x="8823" y="2473448"/>
                    </a:cubicBezTo>
                    <a:cubicBezTo>
                      <a:pt x="-6168" y="2445203"/>
                      <a:pt x="-1815" y="2411716"/>
                      <a:pt x="20031" y="2387356"/>
                    </a:cubicBezTo>
                    <a:lnTo>
                      <a:pt x="2105044" y="60472"/>
                    </a:lnTo>
                    <a:cubicBezTo>
                      <a:pt x="2139326" y="22239"/>
                      <a:pt x="2190984" y="11"/>
                      <a:pt x="224556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0311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sv-SE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514350" fontAlgn="auto">
                  <a:spcBef>
                    <a:spcPts val="0"/>
                  </a:spcBef>
                  <a:spcAft>
                    <a:spcPts val="0"/>
                  </a:spcAft>
                </a:pPr>
                <a:endParaRPr lang="sv-SE" sz="76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93" name="Frihandsfigur: Form 392">
                <a:extLst>
                  <a:ext uri="{FF2B5EF4-FFF2-40B4-BE49-F238E27FC236}">
                    <a16:creationId xmlns:a16="http://schemas.microsoft.com/office/drawing/2014/main" id="{916326E7-F3B6-D3C1-6922-71A5AC8EE3AC}"/>
                  </a:ext>
                </a:extLst>
              </p:cNvPr>
              <p:cNvSpPr/>
              <p:nvPr/>
            </p:nvSpPr>
            <p:spPr>
              <a:xfrm>
                <a:off x="5850715" y="3329029"/>
                <a:ext cx="1282035" cy="1408062"/>
              </a:xfrm>
              <a:custGeom>
                <a:avLst/>
                <a:gdLst>
                  <a:gd name="connsiteX0" fmla="*/ 2426207 w 2516502"/>
                  <a:gd name="connsiteY0" fmla="*/ 0 h 2519680"/>
                  <a:gd name="connsiteX1" fmla="*/ 2155274 w 2516502"/>
                  <a:gd name="connsiteY1" fmla="*/ 0 h 2519680"/>
                  <a:gd name="connsiteX2" fmla="*/ 2236743 w 2516502"/>
                  <a:gd name="connsiteY2" fmla="*/ 46234 h 2519680"/>
                  <a:gd name="connsiteX3" fmla="*/ 2225536 w 2516502"/>
                  <a:gd name="connsiteY3" fmla="*/ 132324 h 2519680"/>
                  <a:gd name="connsiteX4" fmla="*/ 140523 w 2516502"/>
                  <a:gd name="connsiteY4" fmla="*/ 2459126 h 2519680"/>
                  <a:gd name="connsiteX5" fmla="*/ -1 w 2516502"/>
                  <a:gd name="connsiteY5" fmla="*/ 2519680 h 2519680"/>
                  <a:gd name="connsiteX6" fmla="*/ 270932 w 2516502"/>
                  <a:gd name="connsiteY6" fmla="*/ 2519680 h 2519680"/>
                  <a:gd name="connsiteX7" fmla="*/ 411456 w 2516502"/>
                  <a:gd name="connsiteY7" fmla="*/ 2459126 h 2519680"/>
                  <a:gd name="connsiteX8" fmla="*/ 2496469 w 2516502"/>
                  <a:gd name="connsiteY8" fmla="*/ 132324 h 2519680"/>
                  <a:gd name="connsiteX9" fmla="*/ 2507677 w 2516502"/>
                  <a:gd name="connsiteY9" fmla="*/ 46234 h 2519680"/>
                  <a:gd name="connsiteX10" fmla="*/ 2426207 w 2516502"/>
                  <a:gd name="connsiteY10" fmla="*/ 0 h 2519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516502" h="2519680">
                    <a:moveTo>
                      <a:pt x="2426207" y="0"/>
                    </a:moveTo>
                    <a:lnTo>
                      <a:pt x="2155274" y="0"/>
                    </a:lnTo>
                    <a:cubicBezTo>
                      <a:pt x="2190053" y="7"/>
                      <a:pt x="2221743" y="17990"/>
                      <a:pt x="2236743" y="46234"/>
                    </a:cubicBezTo>
                    <a:cubicBezTo>
                      <a:pt x="2251735" y="74478"/>
                      <a:pt x="2247382" y="107963"/>
                      <a:pt x="2225536" y="132324"/>
                    </a:cubicBezTo>
                    <a:lnTo>
                      <a:pt x="140523" y="2459126"/>
                    </a:lnTo>
                    <a:cubicBezTo>
                      <a:pt x="106259" y="2497393"/>
                      <a:pt x="54601" y="2519648"/>
                      <a:pt x="-1" y="2519680"/>
                    </a:cubicBezTo>
                    <a:lnTo>
                      <a:pt x="270932" y="2519680"/>
                    </a:lnTo>
                    <a:cubicBezTo>
                      <a:pt x="325534" y="2519648"/>
                      <a:pt x="377192" y="2497393"/>
                      <a:pt x="411456" y="2459126"/>
                    </a:cubicBezTo>
                    <a:lnTo>
                      <a:pt x="2496469" y="132324"/>
                    </a:lnTo>
                    <a:cubicBezTo>
                      <a:pt x="2518316" y="107963"/>
                      <a:pt x="2522668" y="74478"/>
                      <a:pt x="2507677" y="46234"/>
                    </a:cubicBezTo>
                    <a:cubicBezTo>
                      <a:pt x="2492676" y="17990"/>
                      <a:pt x="2460986" y="7"/>
                      <a:pt x="2426207" y="0"/>
                    </a:cubicBezTo>
                    <a:close/>
                  </a:path>
                </a:pathLst>
              </a:custGeom>
              <a:solidFill>
                <a:srgbClr val="000000">
                  <a:alpha val="25098"/>
                </a:srgbClr>
              </a:solidFill>
              <a:ln w="90311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sv-SE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514350" fontAlgn="auto">
                  <a:spcBef>
                    <a:spcPts val="0"/>
                  </a:spcBef>
                  <a:spcAft>
                    <a:spcPts val="0"/>
                  </a:spcAft>
                </a:pPr>
                <a:endParaRPr lang="sv-SE" sz="76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94" name="Frihandsfigur: Form 393">
                <a:extLst>
                  <a:ext uri="{FF2B5EF4-FFF2-40B4-BE49-F238E27FC236}">
                    <a16:creationId xmlns:a16="http://schemas.microsoft.com/office/drawing/2014/main" id="{D4BE6AB1-18E0-A319-7E12-1564CA18914C}"/>
                  </a:ext>
                </a:extLst>
              </p:cNvPr>
              <p:cNvSpPr/>
              <p:nvPr/>
            </p:nvSpPr>
            <p:spPr>
              <a:xfrm>
                <a:off x="6676854" y="4192035"/>
                <a:ext cx="552109" cy="545056"/>
              </a:xfrm>
              <a:custGeom>
                <a:avLst/>
                <a:gdLst>
                  <a:gd name="connsiteX0" fmla="*/ 1083732 w 1083733"/>
                  <a:gd name="connsiteY0" fmla="*/ 487680 h 975360"/>
                  <a:gd name="connsiteX1" fmla="*/ 541866 w 1083733"/>
                  <a:gd name="connsiteY1" fmla="*/ 975360 h 975360"/>
                  <a:gd name="connsiteX2" fmla="*/ -1 w 1083733"/>
                  <a:gd name="connsiteY2" fmla="*/ 487680 h 975360"/>
                  <a:gd name="connsiteX3" fmla="*/ 541866 w 1083733"/>
                  <a:gd name="connsiteY3" fmla="*/ 0 h 975360"/>
                  <a:gd name="connsiteX4" fmla="*/ 1083732 w 1083733"/>
                  <a:gd name="connsiteY4" fmla="*/ 487680 h 9753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83733" h="975360">
                    <a:moveTo>
                      <a:pt x="1083732" y="487680"/>
                    </a:moveTo>
                    <a:cubicBezTo>
                      <a:pt x="1083732" y="757018"/>
                      <a:pt x="841130" y="975360"/>
                      <a:pt x="541866" y="975360"/>
                    </a:cubicBezTo>
                    <a:cubicBezTo>
                      <a:pt x="242601" y="975360"/>
                      <a:pt x="-1" y="757018"/>
                      <a:pt x="-1" y="487680"/>
                    </a:cubicBezTo>
                    <a:cubicBezTo>
                      <a:pt x="-1" y="218342"/>
                      <a:pt x="242601" y="0"/>
                      <a:pt x="541866" y="0"/>
                    </a:cubicBezTo>
                    <a:cubicBezTo>
                      <a:pt x="841130" y="0"/>
                      <a:pt x="1083732" y="218342"/>
                      <a:pt x="1083732" y="48768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0311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sv-SE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514350" fontAlgn="auto">
                  <a:spcBef>
                    <a:spcPts val="0"/>
                  </a:spcBef>
                  <a:spcAft>
                    <a:spcPts val="0"/>
                  </a:spcAft>
                </a:pPr>
                <a:endParaRPr lang="sv-SE" sz="76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95" name="Frihandsfigur: Form 394">
                <a:extLst>
                  <a:ext uri="{FF2B5EF4-FFF2-40B4-BE49-F238E27FC236}">
                    <a16:creationId xmlns:a16="http://schemas.microsoft.com/office/drawing/2014/main" id="{FAA6B20B-5CE3-39C3-6452-FB1111602D73}"/>
                  </a:ext>
                </a:extLst>
              </p:cNvPr>
              <p:cNvSpPr/>
              <p:nvPr/>
            </p:nvSpPr>
            <p:spPr>
              <a:xfrm>
                <a:off x="6883895" y="4192034"/>
                <a:ext cx="345685" cy="545066"/>
              </a:xfrm>
              <a:custGeom>
                <a:avLst/>
                <a:gdLst>
                  <a:gd name="connsiteX0" fmla="*/ 135466 w 678544"/>
                  <a:gd name="connsiteY0" fmla="*/ 1 h 975378"/>
                  <a:gd name="connsiteX1" fmla="*/ -1 w 678544"/>
                  <a:gd name="connsiteY1" fmla="*/ 16257 h 975378"/>
                  <a:gd name="connsiteX2" fmla="*/ 406300 w 678544"/>
                  <a:gd name="connsiteY2" fmla="*/ 487925 h 975378"/>
                  <a:gd name="connsiteX3" fmla="*/ -1 w 678544"/>
                  <a:gd name="connsiteY3" fmla="*/ 959593 h 975378"/>
                  <a:gd name="connsiteX4" fmla="*/ 553597 w 678544"/>
                  <a:gd name="connsiteY4" fmla="*/ 799171 h 975378"/>
                  <a:gd name="connsiteX5" fmla="*/ 626903 w 678544"/>
                  <a:gd name="connsiteY5" fmla="*/ 279921 h 975378"/>
                  <a:gd name="connsiteX6" fmla="*/ 135466 w 678544"/>
                  <a:gd name="connsiteY6" fmla="*/ 1 h 9753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78544" h="975378">
                    <a:moveTo>
                      <a:pt x="135466" y="1"/>
                    </a:moveTo>
                    <a:cubicBezTo>
                      <a:pt x="89723" y="237"/>
                      <a:pt x="44206" y="5699"/>
                      <a:pt x="-1" y="16257"/>
                    </a:cubicBezTo>
                    <a:cubicBezTo>
                      <a:pt x="239143" y="71633"/>
                      <a:pt x="406300" y="265689"/>
                      <a:pt x="406300" y="487925"/>
                    </a:cubicBezTo>
                    <a:cubicBezTo>
                      <a:pt x="406300" y="710161"/>
                      <a:pt x="239143" y="904217"/>
                      <a:pt x="-1" y="959593"/>
                    </a:cubicBezTo>
                    <a:cubicBezTo>
                      <a:pt x="203488" y="1007329"/>
                      <a:pt x="419286" y="944792"/>
                      <a:pt x="553597" y="799171"/>
                    </a:cubicBezTo>
                    <a:cubicBezTo>
                      <a:pt x="687917" y="653549"/>
                      <a:pt x="716491" y="451146"/>
                      <a:pt x="626903" y="279921"/>
                    </a:cubicBezTo>
                    <a:cubicBezTo>
                      <a:pt x="537323" y="108697"/>
                      <a:pt x="345755" y="-421"/>
                      <a:pt x="135466" y="1"/>
                    </a:cubicBezTo>
                    <a:close/>
                  </a:path>
                </a:pathLst>
              </a:custGeom>
              <a:solidFill>
                <a:srgbClr val="000000">
                  <a:alpha val="25098"/>
                </a:srgbClr>
              </a:solidFill>
              <a:ln w="90311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sv-SE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514350" fontAlgn="auto">
                  <a:spcBef>
                    <a:spcPts val="0"/>
                  </a:spcBef>
                  <a:spcAft>
                    <a:spcPts val="0"/>
                  </a:spcAft>
                </a:pPr>
                <a:endParaRPr lang="sv-SE" sz="76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96" name="Frihandsfigur: Form 395">
                <a:extLst>
                  <a:ext uri="{FF2B5EF4-FFF2-40B4-BE49-F238E27FC236}">
                    <a16:creationId xmlns:a16="http://schemas.microsoft.com/office/drawing/2014/main" id="{45426599-8293-306E-2676-DE49643B4ED8}"/>
                  </a:ext>
                </a:extLst>
              </p:cNvPr>
              <p:cNvSpPr/>
              <p:nvPr/>
            </p:nvSpPr>
            <p:spPr>
              <a:xfrm>
                <a:off x="5572636" y="3329029"/>
                <a:ext cx="552109" cy="545056"/>
              </a:xfrm>
              <a:custGeom>
                <a:avLst/>
                <a:gdLst>
                  <a:gd name="connsiteX0" fmla="*/ 1083732 w 1083733"/>
                  <a:gd name="connsiteY0" fmla="*/ 487680 h 975360"/>
                  <a:gd name="connsiteX1" fmla="*/ 541866 w 1083733"/>
                  <a:gd name="connsiteY1" fmla="*/ 975360 h 975360"/>
                  <a:gd name="connsiteX2" fmla="*/ -1 w 1083733"/>
                  <a:gd name="connsiteY2" fmla="*/ 487680 h 975360"/>
                  <a:gd name="connsiteX3" fmla="*/ 541866 w 1083733"/>
                  <a:gd name="connsiteY3" fmla="*/ 0 h 975360"/>
                  <a:gd name="connsiteX4" fmla="*/ 1083732 w 1083733"/>
                  <a:gd name="connsiteY4" fmla="*/ 487680 h 9753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83733" h="975360">
                    <a:moveTo>
                      <a:pt x="1083732" y="487680"/>
                    </a:moveTo>
                    <a:cubicBezTo>
                      <a:pt x="1083732" y="757018"/>
                      <a:pt x="841130" y="975360"/>
                      <a:pt x="541866" y="975360"/>
                    </a:cubicBezTo>
                    <a:cubicBezTo>
                      <a:pt x="242601" y="975360"/>
                      <a:pt x="-1" y="757018"/>
                      <a:pt x="-1" y="487680"/>
                    </a:cubicBezTo>
                    <a:cubicBezTo>
                      <a:pt x="-1" y="218342"/>
                      <a:pt x="242601" y="0"/>
                      <a:pt x="541866" y="0"/>
                    </a:cubicBezTo>
                    <a:cubicBezTo>
                      <a:pt x="841130" y="0"/>
                      <a:pt x="1083732" y="218342"/>
                      <a:pt x="1083732" y="48768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0311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sv-SE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514350" fontAlgn="auto">
                  <a:spcBef>
                    <a:spcPts val="0"/>
                  </a:spcBef>
                  <a:spcAft>
                    <a:spcPts val="0"/>
                  </a:spcAft>
                </a:pPr>
                <a:endParaRPr lang="sv-SE" sz="76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97" name="Frihandsfigur: Form 396">
                <a:extLst>
                  <a:ext uri="{FF2B5EF4-FFF2-40B4-BE49-F238E27FC236}">
                    <a16:creationId xmlns:a16="http://schemas.microsoft.com/office/drawing/2014/main" id="{D00EFA69-560F-AD6A-A281-296BCE2678E4}"/>
                  </a:ext>
                </a:extLst>
              </p:cNvPr>
              <p:cNvSpPr/>
              <p:nvPr/>
            </p:nvSpPr>
            <p:spPr>
              <a:xfrm>
                <a:off x="5779677" y="3329028"/>
                <a:ext cx="345685" cy="545066"/>
              </a:xfrm>
              <a:custGeom>
                <a:avLst/>
                <a:gdLst>
                  <a:gd name="connsiteX0" fmla="*/ 135466 w 678544"/>
                  <a:gd name="connsiteY0" fmla="*/ 1 h 975378"/>
                  <a:gd name="connsiteX1" fmla="*/ -1 w 678544"/>
                  <a:gd name="connsiteY1" fmla="*/ 16257 h 975378"/>
                  <a:gd name="connsiteX2" fmla="*/ 406300 w 678544"/>
                  <a:gd name="connsiteY2" fmla="*/ 487925 h 975378"/>
                  <a:gd name="connsiteX3" fmla="*/ -1 w 678544"/>
                  <a:gd name="connsiteY3" fmla="*/ 959593 h 975378"/>
                  <a:gd name="connsiteX4" fmla="*/ 553597 w 678544"/>
                  <a:gd name="connsiteY4" fmla="*/ 799171 h 975378"/>
                  <a:gd name="connsiteX5" fmla="*/ 626903 w 678544"/>
                  <a:gd name="connsiteY5" fmla="*/ 279919 h 975378"/>
                  <a:gd name="connsiteX6" fmla="*/ 135466 w 678544"/>
                  <a:gd name="connsiteY6" fmla="*/ 1 h 9753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78544" h="975378">
                    <a:moveTo>
                      <a:pt x="135466" y="1"/>
                    </a:moveTo>
                    <a:cubicBezTo>
                      <a:pt x="89732" y="238"/>
                      <a:pt x="44206" y="5700"/>
                      <a:pt x="-1" y="16257"/>
                    </a:cubicBezTo>
                    <a:cubicBezTo>
                      <a:pt x="239143" y="71634"/>
                      <a:pt x="406300" y="265686"/>
                      <a:pt x="406300" y="487925"/>
                    </a:cubicBezTo>
                    <a:cubicBezTo>
                      <a:pt x="406300" y="710164"/>
                      <a:pt x="239143" y="904217"/>
                      <a:pt x="-1" y="959593"/>
                    </a:cubicBezTo>
                    <a:cubicBezTo>
                      <a:pt x="203488" y="1007329"/>
                      <a:pt x="419286" y="944792"/>
                      <a:pt x="553597" y="799171"/>
                    </a:cubicBezTo>
                    <a:cubicBezTo>
                      <a:pt x="687917" y="653553"/>
                      <a:pt x="716491" y="451143"/>
                      <a:pt x="626903" y="279919"/>
                    </a:cubicBezTo>
                    <a:cubicBezTo>
                      <a:pt x="537323" y="108695"/>
                      <a:pt x="345755" y="-419"/>
                      <a:pt x="135466" y="1"/>
                    </a:cubicBezTo>
                    <a:close/>
                  </a:path>
                </a:pathLst>
              </a:custGeom>
              <a:solidFill>
                <a:srgbClr val="000000">
                  <a:alpha val="25098"/>
                </a:srgbClr>
              </a:solidFill>
              <a:ln w="90311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sv-SE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514350" fontAlgn="auto">
                  <a:spcBef>
                    <a:spcPts val="0"/>
                  </a:spcBef>
                  <a:spcAft>
                    <a:spcPts val="0"/>
                  </a:spcAft>
                </a:pPr>
                <a:endParaRPr lang="sv-SE" sz="76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98" name="Frihandsfigur: Form 397">
                <a:extLst>
                  <a:ext uri="{FF2B5EF4-FFF2-40B4-BE49-F238E27FC236}">
                    <a16:creationId xmlns:a16="http://schemas.microsoft.com/office/drawing/2014/main" id="{E29F74EE-AC16-C21E-A9B6-EAD07211BB84}"/>
                  </a:ext>
                </a:extLst>
              </p:cNvPr>
              <p:cNvSpPr/>
              <p:nvPr/>
            </p:nvSpPr>
            <p:spPr>
              <a:xfrm>
                <a:off x="5622841" y="3283607"/>
                <a:ext cx="1555918" cy="1498904"/>
              </a:xfrm>
              <a:custGeom>
                <a:avLst/>
                <a:gdLst>
                  <a:gd name="connsiteX0" fmla="*/ 2873500 w 3054104"/>
                  <a:gd name="connsiteY0" fmla="*/ 0 h 2682240"/>
                  <a:gd name="connsiteX1" fmla="*/ 2335878 w 3054104"/>
                  <a:gd name="connsiteY1" fmla="*/ 0 h 2682240"/>
                  <a:gd name="connsiteX2" fmla="*/ 2125001 w 3054104"/>
                  <a:gd name="connsiteY2" fmla="*/ 90790 h 2682240"/>
                  <a:gd name="connsiteX3" fmla="*/ 39989 w 3054104"/>
                  <a:gd name="connsiteY3" fmla="*/ 2417674 h 2682240"/>
                  <a:gd name="connsiteX4" fmla="*/ 17682 w 3054104"/>
                  <a:gd name="connsiteY4" fmla="*/ 2589825 h 2682240"/>
                  <a:gd name="connsiteX5" fmla="*/ 180603 w 3054104"/>
                  <a:gd name="connsiteY5" fmla="*/ 2682241 h 2682240"/>
                  <a:gd name="connsiteX6" fmla="*/ 718225 w 3054104"/>
                  <a:gd name="connsiteY6" fmla="*/ 2682241 h 2682240"/>
                  <a:gd name="connsiteX7" fmla="*/ 929101 w 3054104"/>
                  <a:gd name="connsiteY7" fmla="*/ 2591451 h 2682240"/>
                  <a:gd name="connsiteX8" fmla="*/ 3014114 w 3054104"/>
                  <a:gd name="connsiteY8" fmla="*/ 264567 h 2682240"/>
                  <a:gd name="connsiteX9" fmla="*/ 3036421 w 3054104"/>
                  <a:gd name="connsiteY9" fmla="*/ 92413 h 2682240"/>
                  <a:gd name="connsiteX10" fmla="*/ 2873500 w 3054104"/>
                  <a:gd name="connsiteY10" fmla="*/ 0 h 2682240"/>
                  <a:gd name="connsiteX11" fmla="*/ 788487 w 3054104"/>
                  <a:gd name="connsiteY11" fmla="*/ 2489363 h 2682240"/>
                  <a:gd name="connsiteX12" fmla="*/ 718225 w 3054104"/>
                  <a:gd name="connsiteY12" fmla="*/ 2519681 h 2682240"/>
                  <a:gd name="connsiteX13" fmla="*/ 180603 w 3054104"/>
                  <a:gd name="connsiteY13" fmla="*/ 2519681 h 2682240"/>
                  <a:gd name="connsiteX14" fmla="*/ 2265616 w 3054104"/>
                  <a:gd name="connsiteY14" fmla="*/ 192878 h 2682240"/>
                  <a:gd name="connsiteX15" fmla="*/ 2335878 w 3054104"/>
                  <a:gd name="connsiteY15" fmla="*/ 162560 h 2682240"/>
                  <a:gd name="connsiteX16" fmla="*/ 2873500 w 3054104"/>
                  <a:gd name="connsiteY16" fmla="*/ 162560 h 2682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054104" h="2682240">
                    <a:moveTo>
                      <a:pt x="2873500" y="0"/>
                    </a:moveTo>
                    <a:lnTo>
                      <a:pt x="2335878" y="0"/>
                    </a:lnTo>
                    <a:cubicBezTo>
                      <a:pt x="2253911" y="-130"/>
                      <a:pt x="2176325" y="33274"/>
                      <a:pt x="2125001" y="90790"/>
                    </a:cubicBezTo>
                    <a:lnTo>
                      <a:pt x="39989" y="2417674"/>
                    </a:lnTo>
                    <a:cubicBezTo>
                      <a:pt x="-3650" y="2466410"/>
                      <a:pt x="-12329" y="2533360"/>
                      <a:pt x="17682" y="2589825"/>
                    </a:cubicBezTo>
                    <a:cubicBezTo>
                      <a:pt x="47692" y="2646290"/>
                      <a:pt x="111054" y="2682232"/>
                      <a:pt x="180603" y="2682241"/>
                    </a:cubicBezTo>
                    <a:lnTo>
                      <a:pt x="718225" y="2682241"/>
                    </a:lnTo>
                    <a:cubicBezTo>
                      <a:pt x="800191" y="2682370"/>
                      <a:pt x="877778" y="2648964"/>
                      <a:pt x="929101" y="2591451"/>
                    </a:cubicBezTo>
                    <a:lnTo>
                      <a:pt x="3014114" y="264567"/>
                    </a:lnTo>
                    <a:cubicBezTo>
                      <a:pt x="3057752" y="215832"/>
                      <a:pt x="3066431" y="148877"/>
                      <a:pt x="3036421" y="92413"/>
                    </a:cubicBezTo>
                    <a:cubicBezTo>
                      <a:pt x="3006411" y="35950"/>
                      <a:pt x="2943048" y="8"/>
                      <a:pt x="2873500" y="0"/>
                    </a:cubicBezTo>
                    <a:close/>
                    <a:moveTo>
                      <a:pt x="788487" y="2489363"/>
                    </a:moveTo>
                    <a:cubicBezTo>
                      <a:pt x="771418" y="2508570"/>
                      <a:pt x="745553" y="2519729"/>
                      <a:pt x="718225" y="2519681"/>
                    </a:cubicBezTo>
                    <a:lnTo>
                      <a:pt x="180603" y="2519681"/>
                    </a:lnTo>
                    <a:lnTo>
                      <a:pt x="2265616" y="192878"/>
                    </a:lnTo>
                    <a:cubicBezTo>
                      <a:pt x="2282685" y="173674"/>
                      <a:pt x="2308550" y="162514"/>
                      <a:pt x="2335878" y="162560"/>
                    </a:cubicBezTo>
                    <a:lnTo>
                      <a:pt x="2873500" y="162560"/>
                    </a:lnTo>
                    <a:close/>
                  </a:path>
                </a:pathLst>
              </a:custGeom>
              <a:solidFill>
                <a:srgbClr val="000000"/>
              </a:solidFill>
              <a:ln w="90311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sv-SE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514350" fontAlgn="auto">
                  <a:spcBef>
                    <a:spcPts val="0"/>
                  </a:spcBef>
                  <a:spcAft>
                    <a:spcPts val="0"/>
                  </a:spcAft>
                </a:pPr>
                <a:endParaRPr lang="sv-SE" sz="76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99" name="Frihandsfigur: Form 398">
                <a:extLst>
                  <a:ext uri="{FF2B5EF4-FFF2-40B4-BE49-F238E27FC236}">
                    <a16:creationId xmlns:a16="http://schemas.microsoft.com/office/drawing/2014/main" id="{332B03BE-C85A-3CF4-5574-C9E52C86B08E}"/>
                  </a:ext>
                </a:extLst>
              </p:cNvPr>
              <p:cNvSpPr/>
              <p:nvPr/>
            </p:nvSpPr>
            <p:spPr>
              <a:xfrm>
                <a:off x="6630846" y="4146613"/>
                <a:ext cx="644127" cy="635899"/>
              </a:xfrm>
              <a:custGeom>
                <a:avLst/>
                <a:gdLst>
                  <a:gd name="connsiteX0" fmla="*/ -1 w 1264355"/>
                  <a:gd name="connsiteY0" fmla="*/ 568960 h 1137920"/>
                  <a:gd name="connsiteX1" fmla="*/ 632177 w 1264355"/>
                  <a:gd name="connsiteY1" fmla="*/ 1137920 h 1137920"/>
                  <a:gd name="connsiteX2" fmla="*/ 1264355 w 1264355"/>
                  <a:gd name="connsiteY2" fmla="*/ 568960 h 1137920"/>
                  <a:gd name="connsiteX3" fmla="*/ 632177 w 1264355"/>
                  <a:gd name="connsiteY3" fmla="*/ 0 h 1137920"/>
                  <a:gd name="connsiteX4" fmla="*/ -1 w 1264355"/>
                  <a:gd name="connsiteY4" fmla="*/ 568960 h 1137920"/>
                  <a:gd name="connsiteX5" fmla="*/ 1083732 w 1264355"/>
                  <a:gd name="connsiteY5" fmla="*/ 568960 h 1137920"/>
                  <a:gd name="connsiteX6" fmla="*/ 632177 w 1264355"/>
                  <a:gd name="connsiteY6" fmla="*/ 975360 h 1137920"/>
                  <a:gd name="connsiteX7" fmla="*/ 180621 w 1264355"/>
                  <a:gd name="connsiteY7" fmla="*/ 568960 h 1137920"/>
                  <a:gd name="connsiteX8" fmla="*/ 632177 w 1264355"/>
                  <a:gd name="connsiteY8" fmla="*/ 162560 h 1137920"/>
                  <a:gd name="connsiteX9" fmla="*/ 1083732 w 1264355"/>
                  <a:gd name="connsiteY9" fmla="*/ 568960 h 1137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64355" h="1137920">
                    <a:moveTo>
                      <a:pt x="-1" y="568960"/>
                    </a:moveTo>
                    <a:cubicBezTo>
                      <a:pt x="-1" y="883188"/>
                      <a:pt x="283034" y="1137920"/>
                      <a:pt x="632177" y="1137920"/>
                    </a:cubicBezTo>
                    <a:cubicBezTo>
                      <a:pt x="981320" y="1137920"/>
                      <a:pt x="1264355" y="883188"/>
                      <a:pt x="1264355" y="568960"/>
                    </a:cubicBezTo>
                    <a:cubicBezTo>
                      <a:pt x="1264355" y="254732"/>
                      <a:pt x="981320" y="0"/>
                      <a:pt x="632177" y="0"/>
                    </a:cubicBezTo>
                    <a:cubicBezTo>
                      <a:pt x="283197" y="358"/>
                      <a:pt x="396" y="254878"/>
                      <a:pt x="-1" y="568960"/>
                    </a:cubicBezTo>
                    <a:close/>
                    <a:moveTo>
                      <a:pt x="1083732" y="568960"/>
                    </a:moveTo>
                    <a:cubicBezTo>
                      <a:pt x="1083732" y="793407"/>
                      <a:pt x="881562" y="975360"/>
                      <a:pt x="632177" y="975360"/>
                    </a:cubicBezTo>
                    <a:cubicBezTo>
                      <a:pt x="382792" y="975360"/>
                      <a:pt x="180621" y="793407"/>
                      <a:pt x="180621" y="568960"/>
                    </a:cubicBezTo>
                    <a:cubicBezTo>
                      <a:pt x="180621" y="344513"/>
                      <a:pt x="382792" y="162560"/>
                      <a:pt x="632177" y="162560"/>
                    </a:cubicBezTo>
                    <a:cubicBezTo>
                      <a:pt x="881445" y="162828"/>
                      <a:pt x="1083434" y="344619"/>
                      <a:pt x="1083732" y="568960"/>
                    </a:cubicBezTo>
                    <a:close/>
                  </a:path>
                </a:pathLst>
              </a:custGeom>
              <a:solidFill>
                <a:srgbClr val="000000"/>
              </a:solidFill>
              <a:ln w="90311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sv-SE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514350" fontAlgn="auto">
                  <a:spcBef>
                    <a:spcPts val="0"/>
                  </a:spcBef>
                  <a:spcAft>
                    <a:spcPts val="0"/>
                  </a:spcAft>
                </a:pPr>
                <a:endParaRPr lang="sv-SE" sz="76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400" name="Frihandsfigur: Form 399">
                <a:extLst>
                  <a:ext uri="{FF2B5EF4-FFF2-40B4-BE49-F238E27FC236}">
                    <a16:creationId xmlns:a16="http://schemas.microsoft.com/office/drawing/2014/main" id="{2E4D4614-83F0-A476-5BB9-4BCB51BE651F}"/>
                  </a:ext>
                </a:extLst>
              </p:cNvPr>
              <p:cNvSpPr/>
              <p:nvPr/>
            </p:nvSpPr>
            <p:spPr>
              <a:xfrm>
                <a:off x="5526627" y="3283608"/>
                <a:ext cx="644127" cy="635899"/>
              </a:xfrm>
              <a:custGeom>
                <a:avLst/>
                <a:gdLst>
                  <a:gd name="connsiteX0" fmla="*/ 632177 w 1264355"/>
                  <a:gd name="connsiteY0" fmla="*/ 0 h 1137920"/>
                  <a:gd name="connsiteX1" fmla="*/ -1 w 1264355"/>
                  <a:gd name="connsiteY1" fmla="*/ 568960 h 1137920"/>
                  <a:gd name="connsiteX2" fmla="*/ 632177 w 1264355"/>
                  <a:gd name="connsiteY2" fmla="*/ 1137920 h 1137920"/>
                  <a:gd name="connsiteX3" fmla="*/ 1264355 w 1264355"/>
                  <a:gd name="connsiteY3" fmla="*/ 568960 h 1137920"/>
                  <a:gd name="connsiteX4" fmla="*/ 632177 w 1264355"/>
                  <a:gd name="connsiteY4" fmla="*/ 0 h 1137920"/>
                  <a:gd name="connsiteX5" fmla="*/ 632177 w 1264355"/>
                  <a:gd name="connsiteY5" fmla="*/ 975360 h 1137920"/>
                  <a:gd name="connsiteX6" fmla="*/ 180621 w 1264355"/>
                  <a:gd name="connsiteY6" fmla="*/ 568960 h 1137920"/>
                  <a:gd name="connsiteX7" fmla="*/ 632177 w 1264355"/>
                  <a:gd name="connsiteY7" fmla="*/ 162560 h 1137920"/>
                  <a:gd name="connsiteX8" fmla="*/ 1083732 w 1264355"/>
                  <a:gd name="connsiteY8" fmla="*/ 568960 h 1137920"/>
                  <a:gd name="connsiteX9" fmla="*/ 632177 w 1264355"/>
                  <a:gd name="connsiteY9" fmla="*/ 975360 h 1137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64355" h="1137920">
                    <a:moveTo>
                      <a:pt x="632177" y="0"/>
                    </a:moveTo>
                    <a:cubicBezTo>
                      <a:pt x="283034" y="0"/>
                      <a:pt x="-1" y="254732"/>
                      <a:pt x="-1" y="568960"/>
                    </a:cubicBezTo>
                    <a:cubicBezTo>
                      <a:pt x="-1" y="883189"/>
                      <a:pt x="283034" y="1137920"/>
                      <a:pt x="632177" y="1137920"/>
                    </a:cubicBezTo>
                    <a:cubicBezTo>
                      <a:pt x="981319" y="1137920"/>
                      <a:pt x="1264355" y="883189"/>
                      <a:pt x="1264355" y="568960"/>
                    </a:cubicBezTo>
                    <a:cubicBezTo>
                      <a:pt x="1263957" y="254880"/>
                      <a:pt x="981157" y="358"/>
                      <a:pt x="632177" y="0"/>
                    </a:cubicBezTo>
                    <a:close/>
                    <a:moveTo>
                      <a:pt x="632177" y="975360"/>
                    </a:moveTo>
                    <a:cubicBezTo>
                      <a:pt x="382792" y="975360"/>
                      <a:pt x="180621" y="793408"/>
                      <a:pt x="180621" y="568960"/>
                    </a:cubicBezTo>
                    <a:cubicBezTo>
                      <a:pt x="180621" y="344512"/>
                      <a:pt x="382792" y="162560"/>
                      <a:pt x="632177" y="162560"/>
                    </a:cubicBezTo>
                    <a:cubicBezTo>
                      <a:pt x="881562" y="162560"/>
                      <a:pt x="1083732" y="344512"/>
                      <a:pt x="1083732" y="568960"/>
                    </a:cubicBezTo>
                    <a:cubicBezTo>
                      <a:pt x="1083434" y="793297"/>
                      <a:pt x="881444" y="975092"/>
                      <a:pt x="632177" y="975360"/>
                    </a:cubicBezTo>
                    <a:close/>
                  </a:path>
                </a:pathLst>
              </a:custGeom>
              <a:solidFill>
                <a:srgbClr val="000000"/>
              </a:solidFill>
              <a:ln w="90311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sv-SE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514350" fontAlgn="auto">
                  <a:spcBef>
                    <a:spcPts val="0"/>
                  </a:spcBef>
                  <a:spcAft>
                    <a:spcPts val="0"/>
                  </a:spcAft>
                </a:pPr>
                <a:endParaRPr lang="sv-SE" sz="76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</p:grpSp>
      </p:grpSp>
      <p:grpSp>
        <p:nvGrpSpPr>
          <p:cNvPr id="419" name="Grupp 418">
            <a:extLst>
              <a:ext uri="{FF2B5EF4-FFF2-40B4-BE49-F238E27FC236}">
                <a16:creationId xmlns:a16="http://schemas.microsoft.com/office/drawing/2014/main" id="{14435417-E8AB-7C17-AF95-737D5B32D0DF}"/>
              </a:ext>
            </a:extLst>
          </p:cNvPr>
          <p:cNvGrpSpPr/>
          <p:nvPr/>
        </p:nvGrpSpPr>
        <p:grpSpPr>
          <a:xfrm>
            <a:off x="810200" y="1781256"/>
            <a:ext cx="268766" cy="268766"/>
            <a:chOff x="1440356" y="1862810"/>
            <a:chExt cx="1190794" cy="1190794"/>
          </a:xfrm>
        </p:grpSpPr>
        <p:sp>
          <p:nvSpPr>
            <p:cNvPr id="420" name="Frihandsfigur: Form 419">
              <a:extLst>
                <a:ext uri="{FF2B5EF4-FFF2-40B4-BE49-F238E27FC236}">
                  <a16:creationId xmlns:a16="http://schemas.microsoft.com/office/drawing/2014/main" id="{2A278583-3F69-6274-282A-27D992183EE3}"/>
                </a:ext>
              </a:extLst>
            </p:cNvPr>
            <p:cNvSpPr/>
            <p:nvPr/>
          </p:nvSpPr>
          <p:spPr>
            <a:xfrm>
              <a:off x="1932334" y="2099045"/>
              <a:ext cx="206840" cy="206840"/>
            </a:xfrm>
            <a:custGeom>
              <a:avLst/>
              <a:gdLst>
                <a:gd name="connsiteX0" fmla="*/ 0 w 293001"/>
                <a:gd name="connsiteY0" fmla="*/ 0 h 293001"/>
                <a:gd name="connsiteX1" fmla="*/ 293001 w 293001"/>
                <a:gd name="connsiteY1" fmla="*/ 0 h 293001"/>
                <a:gd name="connsiteX2" fmla="*/ 293001 w 293001"/>
                <a:gd name="connsiteY2" fmla="*/ 293001 h 293001"/>
                <a:gd name="connsiteX3" fmla="*/ 0 w 293001"/>
                <a:gd name="connsiteY3" fmla="*/ 293001 h 293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3001" h="293001">
                  <a:moveTo>
                    <a:pt x="0" y="0"/>
                  </a:moveTo>
                  <a:lnTo>
                    <a:pt x="293001" y="0"/>
                  </a:lnTo>
                  <a:lnTo>
                    <a:pt x="293001" y="293001"/>
                  </a:lnTo>
                  <a:lnTo>
                    <a:pt x="0" y="293001"/>
                  </a:lnTo>
                  <a:close/>
                </a:path>
              </a:pathLst>
            </a:custGeom>
            <a:solidFill>
              <a:schemeClr val="accent1"/>
            </a:solidFill>
            <a:ln w="27146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21" name="Frihandsfigur: Form 420">
              <a:extLst>
                <a:ext uri="{FF2B5EF4-FFF2-40B4-BE49-F238E27FC236}">
                  <a16:creationId xmlns:a16="http://schemas.microsoft.com/office/drawing/2014/main" id="{E6184601-E72F-677C-2080-67FA21F63442}"/>
                </a:ext>
              </a:extLst>
            </p:cNvPr>
            <p:cNvSpPr/>
            <p:nvPr/>
          </p:nvSpPr>
          <p:spPr>
            <a:xfrm>
              <a:off x="1913092" y="2079813"/>
              <a:ext cx="245321" cy="245321"/>
            </a:xfrm>
            <a:custGeom>
              <a:avLst/>
              <a:gdLst>
                <a:gd name="connsiteX0" fmla="*/ 320257 w 347513"/>
                <a:gd name="connsiteY0" fmla="*/ 347513 h 347513"/>
                <a:gd name="connsiteX1" fmla="*/ 27256 w 347513"/>
                <a:gd name="connsiteY1" fmla="*/ 347513 h 347513"/>
                <a:gd name="connsiteX2" fmla="*/ 0 w 347513"/>
                <a:gd name="connsiteY2" fmla="*/ 320257 h 347513"/>
                <a:gd name="connsiteX3" fmla="*/ 0 w 347513"/>
                <a:gd name="connsiteY3" fmla="*/ 27256 h 347513"/>
                <a:gd name="connsiteX4" fmla="*/ 27256 w 347513"/>
                <a:gd name="connsiteY4" fmla="*/ 0 h 347513"/>
                <a:gd name="connsiteX5" fmla="*/ 320257 w 347513"/>
                <a:gd name="connsiteY5" fmla="*/ 0 h 347513"/>
                <a:gd name="connsiteX6" fmla="*/ 347513 w 347513"/>
                <a:gd name="connsiteY6" fmla="*/ 27256 h 347513"/>
                <a:gd name="connsiteX7" fmla="*/ 347513 w 347513"/>
                <a:gd name="connsiteY7" fmla="*/ 320257 h 347513"/>
                <a:gd name="connsiteX8" fmla="*/ 320257 w 347513"/>
                <a:gd name="connsiteY8" fmla="*/ 347513 h 347513"/>
                <a:gd name="connsiteX9" fmla="*/ 54512 w 347513"/>
                <a:gd name="connsiteY9" fmla="*/ 293001 h 347513"/>
                <a:gd name="connsiteX10" fmla="*/ 293001 w 347513"/>
                <a:gd name="connsiteY10" fmla="*/ 293001 h 347513"/>
                <a:gd name="connsiteX11" fmla="*/ 293001 w 347513"/>
                <a:gd name="connsiteY11" fmla="*/ 54512 h 347513"/>
                <a:gd name="connsiteX12" fmla="*/ 54512 w 347513"/>
                <a:gd name="connsiteY12" fmla="*/ 54512 h 347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47513" h="347513">
                  <a:moveTo>
                    <a:pt x="320257" y="347513"/>
                  </a:moveTo>
                  <a:lnTo>
                    <a:pt x="27256" y="347513"/>
                  </a:lnTo>
                  <a:cubicBezTo>
                    <a:pt x="12192" y="347513"/>
                    <a:pt x="0" y="335322"/>
                    <a:pt x="0" y="320257"/>
                  </a:cubicBezTo>
                  <a:lnTo>
                    <a:pt x="0" y="27256"/>
                  </a:lnTo>
                  <a:cubicBezTo>
                    <a:pt x="0" y="12192"/>
                    <a:pt x="12192" y="0"/>
                    <a:pt x="27256" y="0"/>
                  </a:cubicBezTo>
                  <a:lnTo>
                    <a:pt x="320257" y="0"/>
                  </a:lnTo>
                  <a:cubicBezTo>
                    <a:pt x="335322" y="0"/>
                    <a:pt x="347513" y="12192"/>
                    <a:pt x="347513" y="27256"/>
                  </a:cubicBezTo>
                  <a:lnTo>
                    <a:pt x="347513" y="320257"/>
                  </a:lnTo>
                  <a:cubicBezTo>
                    <a:pt x="347513" y="335322"/>
                    <a:pt x="335322" y="347513"/>
                    <a:pt x="320257" y="347513"/>
                  </a:cubicBezTo>
                  <a:close/>
                  <a:moveTo>
                    <a:pt x="54512" y="293001"/>
                  </a:moveTo>
                  <a:lnTo>
                    <a:pt x="293001" y="293001"/>
                  </a:lnTo>
                  <a:lnTo>
                    <a:pt x="293001" y="54512"/>
                  </a:lnTo>
                  <a:lnTo>
                    <a:pt x="54512" y="54512"/>
                  </a:lnTo>
                  <a:close/>
                </a:path>
              </a:pathLst>
            </a:custGeom>
            <a:solidFill>
              <a:srgbClr val="000000"/>
            </a:solidFill>
            <a:ln w="27146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22" name="Frihandsfigur: Form 421">
              <a:extLst>
                <a:ext uri="{FF2B5EF4-FFF2-40B4-BE49-F238E27FC236}">
                  <a16:creationId xmlns:a16="http://schemas.microsoft.com/office/drawing/2014/main" id="{5B430E35-6634-6A8E-5212-229BBF35B5F7}"/>
                </a:ext>
              </a:extLst>
            </p:cNvPr>
            <p:cNvSpPr/>
            <p:nvPr/>
          </p:nvSpPr>
          <p:spPr>
            <a:xfrm>
              <a:off x="1932334" y="2587283"/>
              <a:ext cx="206840" cy="206840"/>
            </a:xfrm>
            <a:custGeom>
              <a:avLst/>
              <a:gdLst>
                <a:gd name="connsiteX0" fmla="*/ 0 w 293001"/>
                <a:gd name="connsiteY0" fmla="*/ 0 h 293001"/>
                <a:gd name="connsiteX1" fmla="*/ 293001 w 293001"/>
                <a:gd name="connsiteY1" fmla="*/ 0 h 293001"/>
                <a:gd name="connsiteX2" fmla="*/ 293001 w 293001"/>
                <a:gd name="connsiteY2" fmla="*/ 293001 h 293001"/>
                <a:gd name="connsiteX3" fmla="*/ 0 w 293001"/>
                <a:gd name="connsiteY3" fmla="*/ 293001 h 293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3001" h="293001">
                  <a:moveTo>
                    <a:pt x="0" y="0"/>
                  </a:moveTo>
                  <a:lnTo>
                    <a:pt x="293001" y="0"/>
                  </a:lnTo>
                  <a:lnTo>
                    <a:pt x="293001" y="293001"/>
                  </a:lnTo>
                  <a:lnTo>
                    <a:pt x="0" y="293001"/>
                  </a:lnTo>
                  <a:close/>
                </a:path>
              </a:pathLst>
            </a:custGeom>
            <a:solidFill>
              <a:schemeClr val="accent1"/>
            </a:solidFill>
            <a:ln w="27146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23" name="Frihandsfigur: Form 422">
              <a:extLst>
                <a:ext uri="{FF2B5EF4-FFF2-40B4-BE49-F238E27FC236}">
                  <a16:creationId xmlns:a16="http://schemas.microsoft.com/office/drawing/2014/main" id="{FD7249FA-E07B-305D-AFF6-6E589645B395}"/>
                </a:ext>
              </a:extLst>
            </p:cNvPr>
            <p:cNvSpPr/>
            <p:nvPr/>
          </p:nvSpPr>
          <p:spPr>
            <a:xfrm>
              <a:off x="1913092" y="2568052"/>
              <a:ext cx="245321" cy="245321"/>
            </a:xfrm>
            <a:custGeom>
              <a:avLst/>
              <a:gdLst>
                <a:gd name="connsiteX0" fmla="*/ 320257 w 347513"/>
                <a:gd name="connsiteY0" fmla="*/ 347513 h 347513"/>
                <a:gd name="connsiteX1" fmla="*/ 27256 w 347513"/>
                <a:gd name="connsiteY1" fmla="*/ 347513 h 347513"/>
                <a:gd name="connsiteX2" fmla="*/ 0 w 347513"/>
                <a:gd name="connsiteY2" fmla="*/ 320257 h 347513"/>
                <a:gd name="connsiteX3" fmla="*/ 0 w 347513"/>
                <a:gd name="connsiteY3" fmla="*/ 27256 h 347513"/>
                <a:gd name="connsiteX4" fmla="*/ 27256 w 347513"/>
                <a:gd name="connsiteY4" fmla="*/ 0 h 347513"/>
                <a:gd name="connsiteX5" fmla="*/ 320257 w 347513"/>
                <a:gd name="connsiteY5" fmla="*/ 0 h 347513"/>
                <a:gd name="connsiteX6" fmla="*/ 347513 w 347513"/>
                <a:gd name="connsiteY6" fmla="*/ 27256 h 347513"/>
                <a:gd name="connsiteX7" fmla="*/ 347513 w 347513"/>
                <a:gd name="connsiteY7" fmla="*/ 320257 h 347513"/>
                <a:gd name="connsiteX8" fmla="*/ 320257 w 347513"/>
                <a:gd name="connsiteY8" fmla="*/ 347513 h 347513"/>
                <a:gd name="connsiteX9" fmla="*/ 54512 w 347513"/>
                <a:gd name="connsiteY9" fmla="*/ 293001 h 347513"/>
                <a:gd name="connsiteX10" fmla="*/ 293001 w 347513"/>
                <a:gd name="connsiteY10" fmla="*/ 293001 h 347513"/>
                <a:gd name="connsiteX11" fmla="*/ 293001 w 347513"/>
                <a:gd name="connsiteY11" fmla="*/ 54512 h 347513"/>
                <a:gd name="connsiteX12" fmla="*/ 54512 w 347513"/>
                <a:gd name="connsiteY12" fmla="*/ 54512 h 347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47513" h="347513">
                  <a:moveTo>
                    <a:pt x="320257" y="347513"/>
                  </a:moveTo>
                  <a:lnTo>
                    <a:pt x="27256" y="347513"/>
                  </a:lnTo>
                  <a:cubicBezTo>
                    <a:pt x="12192" y="347513"/>
                    <a:pt x="0" y="335322"/>
                    <a:pt x="0" y="320257"/>
                  </a:cubicBezTo>
                  <a:lnTo>
                    <a:pt x="0" y="27256"/>
                  </a:lnTo>
                  <a:cubicBezTo>
                    <a:pt x="0" y="12192"/>
                    <a:pt x="12192" y="0"/>
                    <a:pt x="27256" y="0"/>
                  </a:cubicBezTo>
                  <a:lnTo>
                    <a:pt x="320257" y="0"/>
                  </a:lnTo>
                  <a:cubicBezTo>
                    <a:pt x="335322" y="0"/>
                    <a:pt x="347513" y="12192"/>
                    <a:pt x="347513" y="27256"/>
                  </a:cubicBezTo>
                  <a:lnTo>
                    <a:pt x="347513" y="320257"/>
                  </a:lnTo>
                  <a:cubicBezTo>
                    <a:pt x="347513" y="335322"/>
                    <a:pt x="335322" y="347513"/>
                    <a:pt x="320257" y="347513"/>
                  </a:cubicBezTo>
                  <a:close/>
                  <a:moveTo>
                    <a:pt x="54512" y="293001"/>
                  </a:moveTo>
                  <a:lnTo>
                    <a:pt x="293001" y="293001"/>
                  </a:lnTo>
                  <a:lnTo>
                    <a:pt x="293001" y="54512"/>
                  </a:lnTo>
                  <a:lnTo>
                    <a:pt x="54512" y="54512"/>
                  </a:lnTo>
                  <a:close/>
                </a:path>
              </a:pathLst>
            </a:custGeom>
            <a:solidFill>
              <a:srgbClr val="000000"/>
            </a:solidFill>
            <a:ln w="27146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24" name="Frihandsfigur: Form 423">
              <a:extLst>
                <a:ext uri="{FF2B5EF4-FFF2-40B4-BE49-F238E27FC236}">
                  <a16:creationId xmlns:a16="http://schemas.microsoft.com/office/drawing/2014/main" id="{A6C5F898-C051-929F-EDD1-278D81AF3ED7}"/>
                </a:ext>
              </a:extLst>
            </p:cNvPr>
            <p:cNvSpPr/>
            <p:nvPr/>
          </p:nvSpPr>
          <p:spPr>
            <a:xfrm>
              <a:off x="2255858" y="2587283"/>
              <a:ext cx="206840" cy="206840"/>
            </a:xfrm>
            <a:custGeom>
              <a:avLst/>
              <a:gdLst>
                <a:gd name="connsiteX0" fmla="*/ 0 w 293001"/>
                <a:gd name="connsiteY0" fmla="*/ 0 h 293001"/>
                <a:gd name="connsiteX1" fmla="*/ 293001 w 293001"/>
                <a:gd name="connsiteY1" fmla="*/ 0 h 293001"/>
                <a:gd name="connsiteX2" fmla="*/ 293001 w 293001"/>
                <a:gd name="connsiteY2" fmla="*/ 293001 h 293001"/>
                <a:gd name="connsiteX3" fmla="*/ 0 w 293001"/>
                <a:gd name="connsiteY3" fmla="*/ 293001 h 293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3001" h="293001">
                  <a:moveTo>
                    <a:pt x="0" y="0"/>
                  </a:moveTo>
                  <a:lnTo>
                    <a:pt x="293001" y="0"/>
                  </a:lnTo>
                  <a:lnTo>
                    <a:pt x="293001" y="293001"/>
                  </a:lnTo>
                  <a:lnTo>
                    <a:pt x="0" y="293001"/>
                  </a:lnTo>
                  <a:close/>
                </a:path>
              </a:pathLst>
            </a:custGeom>
            <a:solidFill>
              <a:schemeClr val="accent1"/>
            </a:solidFill>
            <a:ln w="27146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25" name="Frihandsfigur: Form 424">
              <a:extLst>
                <a:ext uri="{FF2B5EF4-FFF2-40B4-BE49-F238E27FC236}">
                  <a16:creationId xmlns:a16="http://schemas.microsoft.com/office/drawing/2014/main" id="{C85EF7B1-016B-7094-DC03-00710FD18548}"/>
                </a:ext>
              </a:extLst>
            </p:cNvPr>
            <p:cNvSpPr/>
            <p:nvPr/>
          </p:nvSpPr>
          <p:spPr>
            <a:xfrm>
              <a:off x="2236617" y="2568052"/>
              <a:ext cx="245321" cy="245321"/>
            </a:xfrm>
            <a:custGeom>
              <a:avLst/>
              <a:gdLst>
                <a:gd name="connsiteX0" fmla="*/ 320257 w 347513"/>
                <a:gd name="connsiteY0" fmla="*/ 347513 h 347513"/>
                <a:gd name="connsiteX1" fmla="*/ 27256 w 347513"/>
                <a:gd name="connsiteY1" fmla="*/ 347513 h 347513"/>
                <a:gd name="connsiteX2" fmla="*/ 0 w 347513"/>
                <a:gd name="connsiteY2" fmla="*/ 320257 h 347513"/>
                <a:gd name="connsiteX3" fmla="*/ 0 w 347513"/>
                <a:gd name="connsiteY3" fmla="*/ 27256 h 347513"/>
                <a:gd name="connsiteX4" fmla="*/ 27256 w 347513"/>
                <a:gd name="connsiteY4" fmla="*/ 0 h 347513"/>
                <a:gd name="connsiteX5" fmla="*/ 320257 w 347513"/>
                <a:gd name="connsiteY5" fmla="*/ 0 h 347513"/>
                <a:gd name="connsiteX6" fmla="*/ 347513 w 347513"/>
                <a:gd name="connsiteY6" fmla="*/ 27256 h 347513"/>
                <a:gd name="connsiteX7" fmla="*/ 347513 w 347513"/>
                <a:gd name="connsiteY7" fmla="*/ 320257 h 347513"/>
                <a:gd name="connsiteX8" fmla="*/ 320257 w 347513"/>
                <a:gd name="connsiteY8" fmla="*/ 347513 h 347513"/>
                <a:gd name="connsiteX9" fmla="*/ 54512 w 347513"/>
                <a:gd name="connsiteY9" fmla="*/ 293001 h 347513"/>
                <a:gd name="connsiteX10" fmla="*/ 293001 w 347513"/>
                <a:gd name="connsiteY10" fmla="*/ 293001 h 347513"/>
                <a:gd name="connsiteX11" fmla="*/ 293001 w 347513"/>
                <a:gd name="connsiteY11" fmla="*/ 54512 h 347513"/>
                <a:gd name="connsiteX12" fmla="*/ 54512 w 347513"/>
                <a:gd name="connsiteY12" fmla="*/ 54512 h 347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47513" h="347513">
                  <a:moveTo>
                    <a:pt x="320257" y="347513"/>
                  </a:moveTo>
                  <a:lnTo>
                    <a:pt x="27256" y="347513"/>
                  </a:lnTo>
                  <a:cubicBezTo>
                    <a:pt x="12192" y="347513"/>
                    <a:pt x="0" y="335322"/>
                    <a:pt x="0" y="320257"/>
                  </a:cubicBezTo>
                  <a:lnTo>
                    <a:pt x="0" y="27256"/>
                  </a:lnTo>
                  <a:cubicBezTo>
                    <a:pt x="0" y="12192"/>
                    <a:pt x="12192" y="0"/>
                    <a:pt x="27256" y="0"/>
                  </a:cubicBezTo>
                  <a:lnTo>
                    <a:pt x="320257" y="0"/>
                  </a:lnTo>
                  <a:cubicBezTo>
                    <a:pt x="335322" y="0"/>
                    <a:pt x="347513" y="12192"/>
                    <a:pt x="347513" y="27256"/>
                  </a:cubicBezTo>
                  <a:lnTo>
                    <a:pt x="347513" y="320257"/>
                  </a:lnTo>
                  <a:cubicBezTo>
                    <a:pt x="347513" y="335322"/>
                    <a:pt x="335322" y="347513"/>
                    <a:pt x="320257" y="347513"/>
                  </a:cubicBezTo>
                  <a:close/>
                  <a:moveTo>
                    <a:pt x="54512" y="293001"/>
                  </a:moveTo>
                  <a:lnTo>
                    <a:pt x="293001" y="293001"/>
                  </a:lnTo>
                  <a:lnTo>
                    <a:pt x="293001" y="54512"/>
                  </a:lnTo>
                  <a:lnTo>
                    <a:pt x="54512" y="54512"/>
                  </a:lnTo>
                  <a:close/>
                </a:path>
              </a:pathLst>
            </a:custGeom>
            <a:solidFill>
              <a:srgbClr val="000000"/>
            </a:solidFill>
            <a:ln w="27146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26" name="Frihandsfigur: Form 425">
              <a:extLst>
                <a:ext uri="{FF2B5EF4-FFF2-40B4-BE49-F238E27FC236}">
                  <a16:creationId xmlns:a16="http://schemas.microsoft.com/office/drawing/2014/main" id="{9DEDF95F-FAA0-54B1-E49F-A3E26AA8F7A7}"/>
                </a:ext>
              </a:extLst>
            </p:cNvPr>
            <p:cNvSpPr/>
            <p:nvPr/>
          </p:nvSpPr>
          <p:spPr>
            <a:xfrm rot="10800000">
              <a:off x="1608808" y="2587302"/>
              <a:ext cx="206840" cy="206840"/>
            </a:xfrm>
            <a:custGeom>
              <a:avLst/>
              <a:gdLst>
                <a:gd name="connsiteX0" fmla="*/ 0 w 293001"/>
                <a:gd name="connsiteY0" fmla="*/ 0 h 293001"/>
                <a:gd name="connsiteX1" fmla="*/ 293001 w 293001"/>
                <a:gd name="connsiteY1" fmla="*/ 0 h 293001"/>
                <a:gd name="connsiteX2" fmla="*/ 293001 w 293001"/>
                <a:gd name="connsiteY2" fmla="*/ 293001 h 293001"/>
                <a:gd name="connsiteX3" fmla="*/ 0 w 293001"/>
                <a:gd name="connsiteY3" fmla="*/ 293001 h 293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3001" h="293001">
                  <a:moveTo>
                    <a:pt x="0" y="0"/>
                  </a:moveTo>
                  <a:lnTo>
                    <a:pt x="293001" y="0"/>
                  </a:lnTo>
                  <a:lnTo>
                    <a:pt x="293001" y="293001"/>
                  </a:lnTo>
                  <a:lnTo>
                    <a:pt x="0" y="293001"/>
                  </a:lnTo>
                  <a:close/>
                </a:path>
              </a:pathLst>
            </a:custGeom>
            <a:solidFill>
              <a:schemeClr val="accent1"/>
            </a:solidFill>
            <a:ln w="27146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27" name="Frihandsfigur: Form 426">
              <a:extLst>
                <a:ext uri="{FF2B5EF4-FFF2-40B4-BE49-F238E27FC236}">
                  <a16:creationId xmlns:a16="http://schemas.microsoft.com/office/drawing/2014/main" id="{B62AE74F-AA99-7D24-1481-5C93FB1F9AE0}"/>
                </a:ext>
              </a:extLst>
            </p:cNvPr>
            <p:cNvSpPr/>
            <p:nvPr/>
          </p:nvSpPr>
          <p:spPr>
            <a:xfrm>
              <a:off x="1589567" y="2568052"/>
              <a:ext cx="245321" cy="245321"/>
            </a:xfrm>
            <a:custGeom>
              <a:avLst/>
              <a:gdLst>
                <a:gd name="connsiteX0" fmla="*/ 320257 w 347513"/>
                <a:gd name="connsiteY0" fmla="*/ 347513 h 347513"/>
                <a:gd name="connsiteX1" fmla="*/ 27256 w 347513"/>
                <a:gd name="connsiteY1" fmla="*/ 347513 h 347513"/>
                <a:gd name="connsiteX2" fmla="*/ 0 w 347513"/>
                <a:gd name="connsiteY2" fmla="*/ 320257 h 347513"/>
                <a:gd name="connsiteX3" fmla="*/ 0 w 347513"/>
                <a:gd name="connsiteY3" fmla="*/ 27256 h 347513"/>
                <a:gd name="connsiteX4" fmla="*/ 27256 w 347513"/>
                <a:gd name="connsiteY4" fmla="*/ 0 h 347513"/>
                <a:gd name="connsiteX5" fmla="*/ 320257 w 347513"/>
                <a:gd name="connsiteY5" fmla="*/ 0 h 347513"/>
                <a:gd name="connsiteX6" fmla="*/ 347513 w 347513"/>
                <a:gd name="connsiteY6" fmla="*/ 27256 h 347513"/>
                <a:gd name="connsiteX7" fmla="*/ 347513 w 347513"/>
                <a:gd name="connsiteY7" fmla="*/ 320257 h 347513"/>
                <a:gd name="connsiteX8" fmla="*/ 320257 w 347513"/>
                <a:gd name="connsiteY8" fmla="*/ 347513 h 347513"/>
                <a:gd name="connsiteX9" fmla="*/ 54512 w 347513"/>
                <a:gd name="connsiteY9" fmla="*/ 293001 h 347513"/>
                <a:gd name="connsiteX10" fmla="*/ 293001 w 347513"/>
                <a:gd name="connsiteY10" fmla="*/ 293001 h 347513"/>
                <a:gd name="connsiteX11" fmla="*/ 293001 w 347513"/>
                <a:gd name="connsiteY11" fmla="*/ 54512 h 347513"/>
                <a:gd name="connsiteX12" fmla="*/ 54512 w 347513"/>
                <a:gd name="connsiteY12" fmla="*/ 54512 h 347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47513" h="347513">
                  <a:moveTo>
                    <a:pt x="320257" y="347513"/>
                  </a:moveTo>
                  <a:lnTo>
                    <a:pt x="27256" y="347513"/>
                  </a:lnTo>
                  <a:cubicBezTo>
                    <a:pt x="12191" y="347513"/>
                    <a:pt x="0" y="335322"/>
                    <a:pt x="0" y="320257"/>
                  </a:cubicBezTo>
                  <a:lnTo>
                    <a:pt x="0" y="27256"/>
                  </a:lnTo>
                  <a:cubicBezTo>
                    <a:pt x="0" y="12192"/>
                    <a:pt x="12191" y="0"/>
                    <a:pt x="27256" y="0"/>
                  </a:cubicBezTo>
                  <a:lnTo>
                    <a:pt x="320257" y="0"/>
                  </a:lnTo>
                  <a:cubicBezTo>
                    <a:pt x="335322" y="0"/>
                    <a:pt x="347513" y="12192"/>
                    <a:pt x="347513" y="27256"/>
                  </a:cubicBezTo>
                  <a:lnTo>
                    <a:pt x="347513" y="320257"/>
                  </a:lnTo>
                  <a:cubicBezTo>
                    <a:pt x="347513" y="335322"/>
                    <a:pt x="335322" y="347513"/>
                    <a:pt x="320257" y="347513"/>
                  </a:cubicBezTo>
                  <a:close/>
                  <a:moveTo>
                    <a:pt x="54512" y="293001"/>
                  </a:moveTo>
                  <a:lnTo>
                    <a:pt x="293001" y="293001"/>
                  </a:lnTo>
                  <a:lnTo>
                    <a:pt x="293001" y="54512"/>
                  </a:lnTo>
                  <a:lnTo>
                    <a:pt x="54512" y="54512"/>
                  </a:lnTo>
                  <a:close/>
                </a:path>
              </a:pathLst>
            </a:custGeom>
            <a:solidFill>
              <a:srgbClr val="000000"/>
            </a:solidFill>
            <a:ln w="27146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28" name="Frihandsfigur: Form 427">
              <a:extLst>
                <a:ext uri="{FF2B5EF4-FFF2-40B4-BE49-F238E27FC236}">
                  <a16:creationId xmlns:a16="http://schemas.microsoft.com/office/drawing/2014/main" id="{E93AB672-31E4-A340-71C1-3ED0ABE94ED9}"/>
                </a:ext>
              </a:extLst>
            </p:cNvPr>
            <p:cNvSpPr/>
            <p:nvPr/>
          </p:nvSpPr>
          <p:spPr>
            <a:xfrm>
              <a:off x="1692677" y="2419055"/>
              <a:ext cx="686152" cy="175573"/>
            </a:xfrm>
            <a:custGeom>
              <a:avLst/>
              <a:gdLst>
                <a:gd name="connsiteX0" fmla="*/ 1042539 w 1069795"/>
                <a:gd name="connsiteY0" fmla="*/ 248710 h 248710"/>
                <a:gd name="connsiteX1" fmla="*/ 1015284 w 1069795"/>
                <a:gd name="connsiteY1" fmla="*/ 221454 h 248710"/>
                <a:gd name="connsiteX2" fmla="*/ 1015284 w 1069795"/>
                <a:gd name="connsiteY2" fmla="*/ 54512 h 248710"/>
                <a:gd name="connsiteX3" fmla="*/ 54512 w 1069795"/>
                <a:gd name="connsiteY3" fmla="*/ 54512 h 248710"/>
                <a:gd name="connsiteX4" fmla="*/ 54512 w 1069795"/>
                <a:gd name="connsiteY4" fmla="*/ 221454 h 248710"/>
                <a:gd name="connsiteX5" fmla="*/ 27256 w 1069795"/>
                <a:gd name="connsiteY5" fmla="*/ 248710 h 248710"/>
                <a:gd name="connsiteX6" fmla="*/ 0 w 1069795"/>
                <a:gd name="connsiteY6" fmla="*/ 221454 h 248710"/>
                <a:gd name="connsiteX7" fmla="*/ 0 w 1069795"/>
                <a:gd name="connsiteY7" fmla="*/ 27256 h 248710"/>
                <a:gd name="connsiteX8" fmla="*/ 27256 w 1069795"/>
                <a:gd name="connsiteY8" fmla="*/ 0 h 248710"/>
                <a:gd name="connsiteX9" fmla="*/ 1042539 w 1069795"/>
                <a:gd name="connsiteY9" fmla="*/ 0 h 248710"/>
                <a:gd name="connsiteX10" fmla="*/ 1069795 w 1069795"/>
                <a:gd name="connsiteY10" fmla="*/ 27256 h 248710"/>
                <a:gd name="connsiteX11" fmla="*/ 1069795 w 1069795"/>
                <a:gd name="connsiteY11" fmla="*/ 221454 h 248710"/>
                <a:gd name="connsiteX12" fmla="*/ 1042539 w 1069795"/>
                <a:gd name="connsiteY12" fmla="*/ 248710 h 248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69795" h="248710">
                  <a:moveTo>
                    <a:pt x="1042539" y="248710"/>
                  </a:moveTo>
                  <a:cubicBezTo>
                    <a:pt x="1027475" y="248710"/>
                    <a:pt x="1015284" y="236519"/>
                    <a:pt x="1015284" y="221454"/>
                  </a:cubicBezTo>
                  <a:lnTo>
                    <a:pt x="1015284" y="54512"/>
                  </a:lnTo>
                  <a:lnTo>
                    <a:pt x="54512" y="54512"/>
                  </a:lnTo>
                  <a:lnTo>
                    <a:pt x="54512" y="221454"/>
                  </a:lnTo>
                  <a:cubicBezTo>
                    <a:pt x="54512" y="236519"/>
                    <a:pt x="42320" y="248710"/>
                    <a:pt x="27256" y="248710"/>
                  </a:cubicBezTo>
                  <a:cubicBezTo>
                    <a:pt x="12192" y="248710"/>
                    <a:pt x="0" y="236519"/>
                    <a:pt x="0" y="221454"/>
                  </a:cubicBezTo>
                  <a:lnTo>
                    <a:pt x="0" y="27256"/>
                  </a:lnTo>
                  <a:cubicBezTo>
                    <a:pt x="0" y="12192"/>
                    <a:pt x="12192" y="0"/>
                    <a:pt x="27256" y="0"/>
                  </a:cubicBezTo>
                  <a:lnTo>
                    <a:pt x="1042539" y="0"/>
                  </a:lnTo>
                  <a:cubicBezTo>
                    <a:pt x="1057604" y="0"/>
                    <a:pt x="1069795" y="12192"/>
                    <a:pt x="1069795" y="27256"/>
                  </a:cubicBezTo>
                  <a:lnTo>
                    <a:pt x="1069795" y="221454"/>
                  </a:lnTo>
                  <a:cubicBezTo>
                    <a:pt x="1069795" y="236519"/>
                    <a:pt x="1057604" y="248710"/>
                    <a:pt x="1042539" y="248710"/>
                  </a:cubicBezTo>
                  <a:close/>
                </a:path>
              </a:pathLst>
            </a:custGeom>
            <a:solidFill>
              <a:srgbClr val="000000"/>
            </a:solidFill>
            <a:ln w="27146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29" name="Frihandsfigur: Form 428">
              <a:extLst>
                <a:ext uri="{FF2B5EF4-FFF2-40B4-BE49-F238E27FC236}">
                  <a16:creationId xmlns:a16="http://schemas.microsoft.com/office/drawing/2014/main" id="{0BF51D7B-E08E-E45F-4471-A39A3DDE22DA}"/>
                </a:ext>
              </a:extLst>
            </p:cNvPr>
            <p:cNvSpPr/>
            <p:nvPr/>
          </p:nvSpPr>
          <p:spPr>
            <a:xfrm>
              <a:off x="2016512" y="2296179"/>
              <a:ext cx="38481" cy="288000"/>
            </a:xfrm>
            <a:custGeom>
              <a:avLst/>
              <a:gdLst>
                <a:gd name="connsiteX0" fmla="*/ 27256 w 54511"/>
                <a:gd name="connsiteY0" fmla="*/ 453130 h 453129"/>
                <a:gd name="connsiteX1" fmla="*/ 0 w 54511"/>
                <a:gd name="connsiteY1" fmla="*/ 425874 h 453129"/>
                <a:gd name="connsiteX2" fmla="*/ 0 w 54511"/>
                <a:gd name="connsiteY2" fmla="*/ 27256 h 453129"/>
                <a:gd name="connsiteX3" fmla="*/ 27256 w 54511"/>
                <a:gd name="connsiteY3" fmla="*/ 0 h 453129"/>
                <a:gd name="connsiteX4" fmla="*/ 54512 w 54511"/>
                <a:gd name="connsiteY4" fmla="*/ 27256 h 453129"/>
                <a:gd name="connsiteX5" fmla="*/ 54512 w 54511"/>
                <a:gd name="connsiteY5" fmla="*/ 425874 h 453129"/>
                <a:gd name="connsiteX6" fmla="*/ 27256 w 54511"/>
                <a:gd name="connsiteY6" fmla="*/ 453130 h 453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4511" h="453129">
                  <a:moveTo>
                    <a:pt x="27256" y="453130"/>
                  </a:moveTo>
                  <a:cubicBezTo>
                    <a:pt x="12192" y="453130"/>
                    <a:pt x="0" y="440938"/>
                    <a:pt x="0" y="425874"/>
                  </a:cubicBezTo>
                  <a:lnTo>
                    <a:pt x="0" y="27256"/>
                  </a:lnTo>
                  <a:cubicBezTo>
                    <a:pt x="0" y="12192"/>
                    <a:pt x="12192" y="0"/>
                    <a:pt x="27256" y="0"/>
                  </a:cubicBezTo>
                  <a:cubicBezTo>
                    <a:pt x="42320" y="0"/>
                    <a:pt x="54512" y="12192"/>
                    <a:pt x="54512" y="27256"/>
                  </a:cubicBezTo>
                  <a:lnTo>
                    <a:pt x="54512" y="425874"/>
                  </a:lnTo>
                  <a:cubicBezTo>
                    <a:pt x="54512" y="440938"/>
                    <a:pt x="42320" y="453130"/>
                    <a:pt x="27256" y="453130"/>
                  </a:cubicBezTo>
                  <a:close/>
                </a:path>
              </a:pathLst>
            </a:custGeom>
            <a:solidFill>
              <a:srgbClr val="000000"/>
            </a:solidFill>
            <a:ln w="27146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30" name="Frihandsfigur: Form 429">
              <a:extLst>
                <a:ext uri="{FF2B5EF4-FFF2-40B4-BE49-F238E27FC236}">
                  <a16:creationId xmlns:a16="http://schemas.microsoft.com/office/drawing/2014/main" id="{D04A975F-1843-B52F-A422-C62B94DF8CC2}"/>
                </a:ext>
              </a:extLst>
            </p:cNvPr>
            <p:cNvSpPr/>
            <p:nvPr/>
          </p:nvSpPr>
          <p:spPr>
            <a:xfrm>
              <a:off x="2338528" y="1880234"/>
              <a:ext cx="275185" cy="275163"/>
            </a:xfrm>
            <a:custGeom>
              <a:avLst/>
              <a:gdLst>
                <a:gd name="connsiteX0" fmla="*/ 34863 w 275185"/>
                <a:gd name="connsiteY0" fmla="*/ 0 h 275163"/>
                <a:gd name="connsiteX1" fmla="*/ 167898 w 275185"/>
                <a:gd name="connsiteY1" fmla="*/ 0 h 275163"/>
                <a:gd name="connsiteX2" fmla="*/ 275185 w 275185"/>
                <a:gd name="connsiteY2" fmla="*/ 107287 h 275163"/>
                <a:gd name="connsiteX3" fmla="*/ 275185 w 275185"/>
                <a:gd name="connsiteY3" fmla="*/ 240298 h 275163"/>
                <a:gd name="connsiteX4" fmla="*/ 240322 w 275185"/>
                <a:gd name="connsiteY4" fmla="*/ 275163 h 275163"/>
                <a:gd name="connsiteX5" fmla="*/ 215658 w 275185"/>
                <a:gd name="connsiteY5" fmla="*/ 264952 h 275163"/>
                <a:gd name="connsiteX6" fmla="*/ 213654 w 275185"/>
                <a:gd name="connsiteY6" fmla="*/ 260120 h 275163"/>
                <a:gd name="connsiteX7" fmla="*/ 205436 w 275185"/>
                <a:gd name="connsiteY7" fmla="*/ 240298 h 275163"/>
                <a:gd name="connsiteX8" fmla="*/ 205436 w 275185"/>
                <a:gd name="connsiteY8" fmla="*/ 107287 h 275163"/>
                <a:gd name="connsiteX9" fmla="*/ 202254 w 275185"/>
                <a:gd name="connsiteY9" fmla="*/ 99618 h 275163"/>
                <a:gd name="connsiteX10" fmla="*/ 194429 w 275185"/>
                <a:gd name="connsiteY10" fmla="*/ 80757 h 275163"/>
                <a:gd name="connsiteX11" fmla="*/ 167898 w 275185"/>
                <a:gd name="connsiteY11" fmla="*/ 69751 h 275163"/>
                <a:gd name="connsiteX12" fmla="*/ 34863 w 275185"/>
                <a:gd name="connsiteY12" fmla="*/ 69751 h 275163"/>
                <a:gd name="connsiteX13" fmla="*/ 0 w 275185"/>
                <a:gd name="connsiteY13" fmla="*/ 34886 h 275163"/>
                <a:gd name="connsiteX14" fmla="*/ 0 w 275185"/>
                <a:gd name="connsiteY14" fmla="*/ 34886 h 275163"/>
                <a:gd name="connsiteX15" fmla="*/ 0 w 275185"/>
                <a:gd name="connsiteY15" fmla="*/ 34886 h 275163"/>
                <a:gd name="connsiteX16" fmla="*/ 0 w 275185"/>
                <a:gd name="connsiteY16" fmla="*/ 34886 h 275163"/>
                <a:gd name="connsiteX17" fmla="*/ 10210 w 275185"/>
                <a:gd name="connsiteY17" fmla="*/ 10222 h 275163"/>
                <a:gd name="connsiteX18" fmla="*/ 34863 w 275185"/>
                <a:gd name="connsiteY18" fmla="*/ 0 h 275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75185" h="275163">
                  <a:moveTo>
                    <a:pt x="34863" y="0"/>
                  </a:moveTo>
                  <a:lnTo>
                    <a:pt x="167898" y="0"/>
                  </a:lnTo>
                  <a:cubicBezTo>
                    <a:pt x="227066" y="0"/>
                    <a:pt x="275185" y="48121"/>
                    <a:pt x="275185" y="107287"/>
                  </a:cubicBezTo>
                  <a:lnTo>
                    <a:pt x="275185" y="240298"/>
                  </a:lnTo>
                  <a:cubicBezTo>
                    <a:pt x="275185" y="259556"/>
                    <a:pt x="259580" y="275163"/>
                    <a:pt x="240322" y="275163"/>
                  </a:cubicBezTo>
                  <a:cubicBezTo>
                    <a:pt x="230694" y="275163"/>
                    <a:pt x="221972" y="271261"/>
                    <a:pt x="215658" y="264952"/>
                  </a:cubicBezTo>
                  <a:lnTo>
                    <a:pt x="213654" y="260120"/>
                  </a:lnTo>
                  <a:lnTo>
                    <a:pt x="205436" y="240298"/>
                  </a:lnTo>
                  <a:lnTo>
                    <a:pt x="205436" y="107287"/>
                  </a:lnTo>
                  <a:lnTo>
                    <a:pt x="202254" y="99618"/>
                  </a:lnTo>
                  <a:lnTo>
                    <a:pt x="194429" y="80757"/>
                  </a:lnTo>
                  <a:cubicBezTo>
                    <a:pt x="187632" y="73960"/>
                    <a:pt x="178248" y="69751"/>
                    <a:pt x="167898" y="69751"/>
                  </a:cubicBezTo>
                  <a:lnTo>
                    <a:pt x="34863" y="69751"/>
                  </a:lnTo>
                  <a:cubicBezTo>
                    <a:pt x="15606" y="69751"/>
                    <a:pt x="0" y="54144"/>
                    <a:pt x="0" y="34886"/>
                  </a:cubicBezTo>
                  <a:lnTo>
                    <a:pt x="0" y="34886"/>
                  </a:lnTo>
                  <a:lnTo>
                    <a:pt x="0" y="34886"/>
                  </a:lnTo>
                  <a:lnTo>
                    <a:pt x="0" y="34886"/>
                  </a:lnTo>
                  <a:lnTo>
                    <a:pt x="10210" y="10222"/>
                  </a:lnTo>
                  <a:cubicBezTo>
                    <a:pt x="16519" y="3907"/>
                    <a:pt x="25234" y="0"/>
                    <a:pt x="34863" y="0"/>
                  </a:cubicBezTo>
                  <a:close/>
                </a:path>
              </a:pathLst>
            </a:custGeom>
            <a:solidFill>
              <a:schemeClr val="accent1"/>
            </a:solidFill>
            <a:ln w="1488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31" name="Frihandsfigur: Form 430">
              <a:extLst>
                <a:ext uri="{FF2B5EF4-FFF2-40B4-BE49-F238E27FC236}">
                  <a16:creationId xmlns:a16="http://schemas.microsoft.com/office/drawing/2014/main" id="{43F5A2DD-3B5F-2F4D-1C5E-E906686FA0E0}"/>
                </a:ext>
              </a:extLst>
            </p:cNvPr>
            <p:cNvSpPr/>
            <p:nvPr/>
          </p:nvSpPr>
          <p:spPr>
            <a:xfrm>
              <a:off x="1457805" y="2761003"/>
              <a:ext cx="275185" cy="275140"/>
            </a:xfrm>
            <a:custGeom>
              <a:avLst/>
              <a:gdLst>
                <a:gd name="connsiteX0" fmla="*/ 34863 w 275185"/>
                <a:gd name="connsiteY0" fmla="*/ 0 h 275140"/>
                <a:gd name="connsiteX1" fmla="*/ 34863 w 275185"/>
                <a:gd name="connsiteY1" fmla="*/ 0 h 275140"/>
                <a:gd name="connsiteX2" fmla="*/ 34863 w 275185"/>
                <a:gd name="connsiteY2" fmla="*/ 0 h 275140"/>
                <a:gd name="connsiteX3" fmla="*/ 38841 w 275185"/>
                <a:gd name="connsiteY3" fmla="*/ 1647 h 275140"/>
                <a:gd name="connsiteX4" fmla="*/ 59528 w 275185"/>
                <a:gd name="connsiteY4" fmla="*/ 10210 h 275140"/>
                <a:gd name="connsiteX5" fmla="*/ 69751 w 275185"/>
                <a:gd name="connsiteY5" fmla="*/ 34863 h 275140"/>
                <a:gd name="connsiteX6" fmla="*/ 69751 w 275185"/>
                <a:gd name="connsiteY6" fmla="*/ 167874 h 275140"/>
                <a:gd name="connsiteX7" fmla="*/ 80757 w 275185"/>
                <a:gd name="connsiteY7" fmla="*/ 194406 h 275140"/>
                <a:gd name="connsiteX8" fmla="*/ 104218 w 275185"/>
                <a:gd name="connsiteY8" fmla="*/ 204139 h 275140"/>
                <a:gd name="connsiteX9" fmla="*/ 107288 w 275185"/>
                <a:gd name="connsiteY9" fmla="*/ 205412 h 275140"/>
                <a:gd name="connsiteX10" fmla="*/ 240322 w 275185"/>
                <a:gd name="connsiteY10" fmla="*/ 205412 h 275140"/>
                <a:gd name="connsiteX11" fmla="*/ 240322 w 275185"/>
                <a:gd name="connsiteY11" fmla="*/ 205412 h 275140"/>
                <a:gd name="connsiteX12" fmla="*/ 275185 w 275185"/>
                <a:gd name="connsiteY12" fmla="*/ 240275 h 275140"/>
                <a:gd name="connsiteX13" fmla="*/ 275185 w 275185"/>
                <a:gd name="connsiteY13" fmla="*/ 240275 h 275140"/>
                <a:gd name="connsiteX14" fmla="*/ 275185 w 275185"/>
                <a:gd name="connsiteY14" fmla="*/ 240275 h 275140"/>
                <a:gd name="connsiteX15" fmla="*/ 240322 w 275185"/>
                <a:gd name="connsiteY15" fmla="*/ 275140 h 275140"/>
                <a:gd name="connsiteX16" fmla="*/ 107287 w 275185"/>
                <a:gd name="connsiteY16" fmla="*/ 275140 h 275140"/>
                <a:gd name="connsiteX17" fmla="*/ 0 w 275185"/>
                <a:gd name="connsiteY17" fmla="*/ 167874 h 275140"/>
                <a:gd name="connsiteX18" fmla="*/ 0 w 275185"/>
                <a:gd name="connsiteY18" fmla="*/ 34863 h 275140"/>
                <a:gd name="connsiteX19" fmla="*/ 34863 w 275185"/>
                <a:gd name="connsiteY19" fmla="*/ 0 h 275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75185" h="275140">
                  <a:moveTo>
                    <a:pt x="34863" y="0"/>
                  </a:moveTo>
                  <a:lnTo>
                    <a:pt x="34863" y="0"/>
                  </a:lnTo>
                  <a:lnTo>
                    <a:pt x="34863" y="0"/>
                  </a:lnTo>
                  <a:lnTo>
                    <a:pt x="38841" y="1647"/>
                  </a:lnTo>
                  <a:lnTo>
                    <a:pt x="59528" y="10210"/>
                  </a:lnTo>
                  <a:cubicBezTo>
                    <a:pt x="65843" y="16518"/>
                    <a:pt x="69751" y="25234"/>
                    <a:pt x="69751" y="34863"/>
                  </a:cubicBezTo>
                  <a:lnTo>
                    <a:pt x="69751" y="167874"/>
                  </a:lnTo>
                  <a:cubicBezTo>
                    <a:pt x="69751" y="178224"/>
                    <a:pt x="73960" y="187609"/>
                    <a:pt x="80757" y="194406"/>
                  </a:cubicBezTo>
                  <a:lnTo>
                    <a:pt x="104218" y="204139"/>
                  </a:lnTo>
                  <a:lnTo>
                    <a:pt x="107288" y="205412"/>
                  </a:lnTo>
                  <a:lnTo>
                    <a:pt x="240322" y="205412"/>
                  </a:lnTo>
                  <a:lnTo>
                    <a:pt x="240322" y="205412"/>
                  </a:lnTo>
                  <a:cubicBezTo>
                    <a:pt x="259580" y="205412"/>
                    <a:pt x="275185" y="221018"/>
                    <a:pt x="275185" y="240275"/>
                  </a:cubicBezTo>
                  <a:lnTo>
                    <a:pt x="275185" y="240275"/>
                  </a:lnTo>
                  <a:lnTo>
                    <a:pt x="275185" y="240275"/>
                  </a:lnTo>
                  <a:cubicBezTo>
                    <a:pt x="275185" y="259533"/>
                    <a:pt x="259580" y="275140"/>
                    <a:pt x="240322" y="275140"/>
                  </a:cubicBezTo>
                  <a:lnTo>
                    <a:pt x="107287" y="275140"/>
                  </a:lnTo>
                  <a:cubicBezTo>
                    <a:pt x="48121" y="275140"/>
                    <a:pt x="0" y="227019"/>
                    <a:pt x="0" y="167874"/>
                  </a:cubicBezTo>
                  <a:lnTo>
                    <a:pt x="0" y="34863"/>
                  </a:lnTo>
                  <a:cubicBezTo>
                    <a:pt x="0" y="15605"/>
                    <a:pt x="15605" y="0"/>
                    <a:pt x="34863" y="0"/>
                  </a:cubicBezTo>
                  <a:close/>
                </a:path>
              </a:pathLst>
            </a:custGeom>
            <a:solidFill>
              <a:schemeClr val="accent1"/>
            </a:solidFill>
            <a:ln w="1488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32" name="Frihandsfigur: Form 431">
              <a:extLst>
                <a:ext uri="{FF2B5EF4-FFF2-40B4-BE49-F238E27FC236}">
                  <a16:creationId xmlns:a16="http://schemas.microsoft.com/office/drawing/2014/main" id="{4F2BF3C5-F8BE-1C9A-4D30-6451245641D6}"/>
                </a:ext>
              </a:extLst>
            </p:cNvPr>
            <p:cNvSpPr/>
            <p:nvPr/>
          </p:nvSpPr>
          <p:spPr>
            <a:xfrm>
              <a:off x="1457805" y="1880234"/>
              <a:ext cx="275185" cy="275163"/>
            </a:xfrm>
            <a:custGeom>
              <a:avLst/>
              <a:gdLst>
                <a:gd name="connsiteX0" fmla="*/ 107287 w 275185"/>
                <a:gd name="connsiteY0" fmla="*/ 0 h 275163"/>
                <a:gd name="connsiteX1" fmla="*/ 240322 w 275185"/>
                <a:gd name="connsiteY1" fmla="*/ 0 h 275163"/>
                <a:gd name="connsiteX2" fmla="*/ 264975 w 275185"/>
                <a:gd name="connsiteY2" fmla="*/ 10222 h 275163"/>
                <a:gd name="connsiteX3" fmla="*/ 275185 w 275185"/>
                <a:gd name="connsiteY3" fmla="*/ 34886 h 275163"/>
                <a:gd name="connsiteX4" fmla="*/ 275185 w 275185"/>
                <a:gd name="connsiteY4" fmla="*/ 34886 h 275163"/>
                <a:gd name="connsiteX5" fmla="*/ 275185 w 275185"/>
                <a:gd name="connsiteY5" fmla="*/ 34886 h 275163"/>
                <a:gd name="connsiteX6" fmla="*/ 275185 w 275185"/>
                <a:gd name="connsiteY6" fmla="*/ 34886 h 275163"/>
                <a:gd name="connsiteX7" fmla="*/ 240322 w 275185"/>
                <a:gd name="connsiteY7" fmla="*/ 69751 h 275163"/>
                <a:gd name="connsiteX8" fmla="*/ 107287 w 275185"/>
                <a:gd name="connsiteY8" fmla="*/ 69751 h 275163"/>
                <a:gd name="connsiteX9" fmla="*/ 69751 w 275185"/>
                <a:gd name="connsiteY9" fmla="*/ 107287 h 275163"/>
                <a:gd name="connsiteX10" fmla="*/ 69751 w 275185"/>
                <a:gd name="connsiteY10" fmla="*/ 240298 h 275163"/>
                <a:gd name="connsiteX11" fmla="*/ 34863 w 275185"/>
                <a:gd name="connsiteY11" fmla="*/ 275163 h 275163"/>
                <a:gd name="connsiteX12" fmla="*/ 0 w 275185"/>
                <a:gd name="connsiteY12" fmla="*/ 240298 h 275163"/>
                <a:gd name="connsiteX13" fmla="*/ 0 w 275185"/>
                <a:gd name="connsiteY13" fmla="*/ 107287 h 275163"/>
                <a:gd name="connsiteX14" fmla="*/ 107287 w 275185"/>
                <a:gd name="connsiteY14" fmla="*/ 0 h 275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75185" h="275163">
                  <a:moveTo>
                    <a:pt x="107287" y="0"/>
                  </a:moveTo>
                  <a:lnTo>
                    <a:pt x="240322" y="0"/>
                  </a:lnTo>
                  <a:cubicBezTo>
                    <a:pt x="249951" y="0"/>
                    <a:pt x="258667" y="3907"/>
                    <a:pt x="264975" y="10222"/>
                  </a:cubicBezTo>
                  <a:lnTo>
                    <a:pt x="275185" y="34886"/>
                  </a:lnTo>
                  <a:lnTo>
                    <a:pt x="275185" y="34886"/>
                  </a:lnTo>
                  <a:lnTo>
                    <a:pt x="275185" y="34886"/>
                  </a:lnTo>
                  <a:lnTo>
                    <a:pt x="275185" y="34886"/>
                  </a:lnTo>
                  <a:cubicBezTo>
                    <a:pt x="275185" y="54144"/>
                    <a:pt x="259580" y="69751"/>
                    <a:pt x="240322" y="69751"/>
                  </a:cubicBezTo>
                  <a:lnTo>
                    <a:pt x="107287" y="69751"/>
                  </a:lnTo>
                  <a:cubicBezTo>
                    <a:pt x="86589" y="69751"/>
                    <a:pt x="69751" y="86589"/>
                    <a:pt x="69751" y="107287"/>
                  </a:cubicBezTo>
                  <a:lnTo>
                    <a:pt x="69751" y="240298"/>
                  </a:lnTo>
                  <a:cubicBezTo>
                    <a:pt x="69751" y="259556"/>
                    <a:pt x="54120" y="275163"/>
                    <a:pt x="34863" y="275163"/>
                  </a:cubicBezTo>
                  <a:cubicBezTo>
                    <a:pt x="15605" y="275163"/>
                    <a:pt x="0" y="259556"/>
                    <a:pt x="0" y="240298"/>
                  </a:cubicBezTo>
                  <a:lnTo>
                    <a:pt x="0" y="107287"/>
                  </a:lnTo>
                  <a:cubicBezTo>
                    <a:pt x="0" y="48121"/>
                    <a:pt x="48121" y="0"/>
                    <a:pt x="107287" y="0"/>
                  </a:cubicBezTo>
                  <a:close/>
                </a:path>
              </a:pathLst>
            </a:custGeom>
            <a:solidFill>
              <a:schemeClr val="accent1"/>
            </a:solidFill>
            <a:ln w="1488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33" name="Frihandsfigur: Form 432">
              <a:extLst>
                <a:ext uri="{FF2B5EF4-FFF2-40B4-BE49-F238E27FC236}">
                  <a16:creationId xmlns:a16="http://schemas.microsoft.com/office/drawing/2014/main" id="{22811ECD-0DA8-1BA3-29D4-6B0B203EEEFD}"/>
                </a:ext>
              </a:extLst>
            </p:cNvPr>
            <p:cNvSpPr/>
            <p:nvPr/>
          </p:nvSpPr>
          <p:spPr>
            <a:xfrm>
              <a:off x="2338528" y="2761003"/>
              <a:ext cx="275185" cy="275140"/>
            </a:xfrm>
            <a:custGeom>
              <a:avLst/>
              <a:gdLst>
                <a:gd name="connsiteX0" fmla="*/ 240322 w 275185"/>
                <a:gd name="connsiteY0" fmla="*/ 0 h 275140"/>
                <a:gd name="connsiteX1" fmla="*/ 240322 w 275185"/>
                <a:gd name="connsiteY1" fmla="*/ 0 h 275140"/>
                <a:gd name="connsiteX2" fmla="*/ 240322 w 275185"/>
                <a:gd name="connsiteY2" fmla="*/ 0 h 275140"/>
                <a:gd name="connsiteX3" fmla="*/ 275185 w 275185"/>
                <a:gd name="connsiteY3" fmla="*/ 34863 h 275140"/>
                <a:gd name="connsiteX4" fmla="*/ 275185 w 275185"/>
                <a:gd name="connsiteY4" fmla="*/ 167874 h 275140"/>
                <a:gd name="connsiteX5" fmla="*/ 167898 w 275185"/>
                <a:gd name="connsiteY5" fmla="*/ 275140 h 275140"/>
                <a:gd name="connsiteX6" fmla="*/ 34863 w 275185"/>
                <a:gd name="connsiteY6" fmla="*/ 275140 h 275140"/>
                <a:gd name="connsiteX7" fmla="*/ 0 w 275185"/>
                <a:gd name="connsiteY7" fmla="*/ 240275 h 275140"/>
                <a:gd name="connsiteX8" fmla="*/ 0 w 275185"/>
                <a:gd name="connsiteY8" fmla="*/ 240275 h 275140"/>
                <a:gd name="connsiteX9" fmla="*/ 0 w 275185"/>
                <a:gd name="connsiteY9" fmla="*/ 240275 h 275140"/>
                <a:gd name="connsiteX10" fmla="*/ 34863 w 275185"/>
                <a:gd name="connsiteY10" fmla="*/ 205412 h 275140"/>
                <a:gd name="connsiteX11" fmla="*/ 167898 w 275185"/>
                <a:gd name="connsiteY11" fmla="*/ 205412 h 275140"/>
                <a:gd name="connsiteX12" fmla="*/ 205436 w 275185"/>
                <a:gd name="connsiteY12" fmla="*/ 167874 h 275140"/>
                <a:gd name="connsiteX13" fmla="*/ 205436 w 275185"/>
                <a:gd name="connsiteY13" fmla="*/ 34863 h 275140"/>
                <a:gd name="connsiteX14" fmla="*/ 240322 w 275185"/>
                <a:gd name="connsiteY14" fmla="*/ 0 h 275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75185" h="275140">
                  <a:moveTo>
                    <a:pt x="240322" y="0"/>
                  </a:moveTo>
                  <a:lnTo>
                    <a:pt x="240322" y="0"/>
                  </a:lnTo>
                  <a:lnTo>
                    <a:pt x="240322" y="0"/>
                  </a:lnTo>
                  <a:cubicBezTo>
                    <a:pt x="259580" y="0"/>
                    <a:pt x="275185" y="15605"/>
                    <a:pt x="275185" y="34863"/>
                  </a:cubicBezTo>
                  <a:lnTo>
                    <a:pt x="275185" y="167874"/>
                  </a:lnTo>
                  <a:cubicBezTo>
                    <a:pt x="275185" y="227019"/>
                    <a:pt x="227066" y="275140"/>
                    <a:pt x="167898" y="275140"/>
                  </a:cubicBezTo>
                  <a:lnTo>
                    <a:pt x="34863" y="275140"/>
                  </a:lnTo>
                  <a:cubicBezTo>
                    <a:pt x="15606" y="275140"/>
                    <a:pt x="0" y="259533"/>
                    <a:pt x="0" y="240275"/>
                  </a:cubicBezTo>
                  <a:lnTo>
                    <a:pt x="0" y="240275"/>
                  </a:lnTo>
                  <a:lnTo>
                    <a:pt x="0" y="240275"/>
                  </a:lnTo>
                  <a:cubicBezTo>
                    <a:pt x="0" y="221018"/>
                    <a:pt x="15605" y="205412"/>
                    <a:pt x="34863" y="205412"/>
                  </a:cubicBezTo>
                  <a:lnTo>
                    <a:pt x="167898" y="205412"/>
                  </a:lnTo>
                  <a:cubicBezTo>
                    <a:pt x="188598" y="205412"/>
                    <a:pt x="205436" y="188574"/>
                    <a:pt x="205436" y="167874"/>
                  </a:cubicBezTo>
                  <a:lnTo>
                    <a:pt x="205436" y="34863"/>
                  </a:lnTo>
                  <a:cubicBezTo>
                    <a:pt x="205436" y="15605"/>
                    <a:pt x="221065" y="0"/>
                    <a:pt x="240322" y="0"/>
                  </a:cubicBezTo>
                  <a:close/>
                </a:path>
              </a:pathLst>
            </a:custGeom>
            <a:solidFill>
              <a:schemeClr val="accent1"/>
            </a:solidFill>
            <a:ln w="1488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34" name="Frihandsfigur: Form 433">
              <a:extLst>
                <a:ext uri="{FF2B5EF4-FFF2-40B4-BE49-F238E27FC236}">
                  <a16:creationId xmlns:a16="http://schemas.microsoft.com/office/drawing/2014/main" id="{1CBE5E54-E6A3-AF8C-C0AF-F1E99E01F6C7}"/>
                </a:ext>
              </a:extLst>
            </p:cNvPr>
            <p:cNvSpPr/>
            <p:nvPr/>
          </p:nvSpPr>
          <p:spPr>
            <a:xfrm>
              <a:off x="1440356" y="1862810"/>
              <a:ext cx="310079" cy="310043"/>
            </a:xfrm>
            <a:custGeom>
              <a:avLst/>
              <a:gdLst>
                <a:gd name="connsiteX0" fmla="*/ 33477 w 198422"/>
                <a:gd name="connsiteY0" fmla="*/ 198400 h 198399"/>
                <a:gd name="connsiteX1" fmla="*/ 66955 w 198422"/>
                <a:gd name="connsiteY1" fmla="*/ 164925 h 198399"/>
                <a:gd name="connsiteX2" fmla="*/ 66955 w 198422"/>
                <a:gd name="connsiteY2" fmla="*/ 79805 h 198399"/>
                <a:gd name="connsiteX3" fmla="*/ 79814 w 198422"/>
                <a:gd name="connsiteY3" fmla="*/ 66949 h 198399"/>
                <a:gd name="connsiteX4" fmla="*/ 164945 w 198422"/>
                <a:gd name="connsiteY4" fmla="*/ 66949 h 198399"/>
                <a:gd name="connsiteX5" fmla="*/ 198422 w 198422"/>
                <a:gd name="connsiteY5" fmla="*/ 33474 h 198399"/>
                <a:gd name="connsiteX6" fmla="*/ 164945 w 198422"/>
                <a:gd name="connsiteY6" fmla="*/ 0 h 198399"/>
                <a:gd name="connsiteX7" fmla="*/ 79814 w 198422"/>
                <a:gd name="connsiteY7" fmla="*/ 0 h 198399"/>
                <a:gd name="connsiteX8" fmla="*/ 0 w 198422"/>
                <a:gd name="connsiteY8" fmla="*/ 79805 h 198399"/>
                <a:gd name="connsiteX9" fmla="*/ 0 w 198422"/>
                <a:gd name="connsiteY9" fmla="*/ 164924 h 198399"/>
                <a:gd name="connsiteX10" fmla="*/ 33477 w 198422"/>
                <a:gd name="connsiteY10" fmla="*/ 198400 h 198399"/>
                <a:gd name="connsiteX11" fmla="*/ 22324 w 198422"/>
                <a:gd name="connsiteY11" fmla="*/ 79805 h 198399"/>
                <a:gd name="connsiteX12" fmla="*/ 79814 w 198422"/>
                <a:gd name="connsiteY12" fmla="*/ 22324 h 198399"/>
                <a:gd name="connsiteX13" fmla="*/ 164945 w 198422"/>
                <a:gd name="connsiteY13" fmla="*/ 22324 h 198399"/>
                <a:gd name="connsiteX14" fmla="*/ 176098 w 198422"/>
                <a:gd name="connsiteY14" fmla="*/ 33474 h 198399"/>
                <a:gd name="connsiteX15" fmla="*/ 164945 w 198422"/>
                <a:gd name="connsiteY15" fmla="*/ 44625 h 198399"/>
                <a:gd name="connsiteX16" fmla="*/ 79814 w 198422"/>
                <a:gd name="connsiteY16" fmla="*/ 44625 h 198399"/>
                <a:gd name="connsiteX17" fmla="*/ 44631 w 198422"/>
                <a:gd name="connsiteY17" fmla="*/ 79805 h 198399"/>
                <a:gd name="connsiteX18" fmla="*/ 44631 w 198422"/>
                <a:gd name="connsiteY18" fmla="*/ 164924 h 198399"/>
                <a:gd name="connsiteX19" fmla="*/ 33477 w 198422"/>
                <a:gd name="connsiteY19" fmla="*/ 176074 h 198399"/>
                <a:gd name="connsiteX20" fmla="*/ 22324 w 198422"/>
                <a:gd name="connsiteY20" fmla="*/ 164924 h 198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8422" h="198399">
                  <a:moveTo>
                    <a:pt x="33477" y="198400"/>
                  </a:moveTo>
                  <a:cubicBezTo>
                    <a:pt x="51937" y="198400"/>
                    <a:pt x="66955" y="183383"/>
                    <a:pt x="66955" y="164925"/>
                  </a:cubicBezTo>
                  <a:lnTo>
                    <a:pt x="66955" y="79805"/>
                  </a:lnTo>
                  <a:cubicBezTo>
                    <a:pt x="66955" y="72716"/>
                    <a:pt x="72723" y="66949"/>
                    <a:pt x="79814" y="66949"/>
                  </a:cubicBezTo>
                  <a:lnTo>
                    <a:pt x="164945" y="66949"/>
                  </a:lnTo>
                  <a:cubicBezTo>
                    <a:pt x="183404" y="66949"/>
                    <a:pt x="198422" y="51932"/>
                    <a:pt x="198422" y="33474"/>
                  </a:cubicBezTo>
                  <a:cubicBezTo>
                    <a:pt x="198422" y="15017"/>
                    <a:pt x="183404" y="0"/>
                    <a:pt x="164945" y="0"/>
                  </a:cubicBezTo>
                  <a:lnTo>
                    <a:pt x="79814" y="0"/>
                  </a:lnTo>
                  <a:cubicBezTo>
                    <a:pt x="35805" y="0"/>
                    <a:pt x="0" y="35801"/>
                    <a:pt x="0" y="79805"/>
                  </a:cubicBezTo>
                  <a:lnTo>
                    <a:pt x="0" y="164924"/>
                  </a:lnTo>
                  <a:cubicBezTo>
                    <a:pt x="0" y="183383"/>
                    <a:pt x="15018" y="198400"/>
                    <a:pt x="33477" y="198400"/>
                  </a:cubicBezTo>
                  <a:close/>
                  <a:moveTo>
                    <a:pt x="22324" y="79805"/>
                  </a:moveTo>
                  <a:cubicBezTo>
                    <a:pt x="22324" y="48110"/>
                    <a:pt x="48115" y="22324"/>
                    <a:pt x="79814" y="22324"/>
                  </a:cubicBezTo>
                  <a:lnTo>
                    <a:pt x="164945" y="22324"/>
                  </a:lnTo>
                  <a:cubicBezTo>
                    <a:pt x="171094" y="22324"/>
                    <a:pt x="176098" y="27326"/>
                    <a:pt x="176098" y="33474"/>
                  </a:cubicBezTo>
                  <a:cubicBezTo>
                    <a:pt x="176098" y="39623"/>
                    <a:pt x="171094" y="44625"/>
                    <a:pt x="164945" y="44625"/>
                  </a:cubicBezTo>
                  <a:lnTo>
                    <a:pt x="79814" y="44625"/>
                  </a:lnTo>
                  <a:cubicBezTo>
                    <a:pt x="60414" y="44625"/>
                    <a:pt x="44631" y="60406"/>
                    <a:pt x="44631" y="79805"/>
                  </a:cubicBezTo>
                  <a:lnTo>
                    <a:pt x="44631" y="164924"/>
                  </a:lnTo>
                  <a:cubicBezTo>
                    <a:pt x="44631" y="171072"/>
                    <a:pt x="39627" y="176074"/>
                    <a:pt x="33477" y="176074"/>
                  </a:cubicBezTo>
                  <a:cubicBezTo>
                    <a:pt x="27328" y="176074"/>
                    <a:pt x="22324" y="171072"/>
                    <a:pt x="22324" y="164924"/>
                  </a:cubicBezTo>
                  <a:close/>
                </a:path>
              </a:pathLst>
            </a:custGeom>
            <a:solidFill>
              <a:srgbClr val="000000"/>
            </a:solidFill>
            <a:ln w="1488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35" name="Frihandsfigur: Form 434">
              <a:extLst>
                <a:ext uri="{FF2B5EF4-FFF2-40B4-BE49-F238E27FC236}">
                  <a16:creationId xmlns:a16="http://schemas.microsoft.com/office/drawing/2014/main" id="{524BF415-97E4-4E73-28DC-EAC6E167831B}"/>
                </a:ext>
              </a:extLst>
            </p:cNvPr>
            <p:cNvSpPr/>
            <p:nvPr/>
          </p:nvSpPr>
          <p:spPr>
            <a:xfrm>
              <a:off x="2321074" y="1862810"/>
              <a:ext cx="310076" cy="310041"/>
            </a:xfrm>
            <a:custGeom>
              <a:avLst/>
              <a:gdLst>
                <a:gd name="connsiteX0" fmla="*/ 118609 w 198420"/>
                <a:gd name="connsiteY0" fmla="*/ 0 h 198398"/>
                <a:gd name="connsiteX1" fmla="*/ 33477 w 198420"/>
                <a:gd name="connsiteY1" fmla="*/ 0 h 198398"/>
                <a:gd name="connsiteX2" fmla="*/ 0 w 198420"/>
                <a:gd name="connsiteY2" fmla="*/ 33474 h 198398"/>
                <a:gd name="connsiteX3" fmla="*/ 33477 w 198420"/>
                <a:gd name="connsiteY3" fmla="*/ 66949 h 198398"/>
                <a:gd name="connsiteX4" fmla="*/ 118609 w 198420"/>
                <a:gd name="connsiteY4" fmla="*/ 66949 h 198398"/>
                <a:gd name="connsiteX5" fmla="*/ 131467 w 198420"/>
                <a:gd name="connsiteY5" fmla="*/ 79805 h 198398"/>
                <a:gd name="connsiteX6" fmla="*/ 131467 w 198420"/>
                <a:gd name="connsiteY6" fmla="*/ 164924 h 198398"/>
                <a:gd name="connsiteX7" fmla="*/ 164945 w 198420"/>
                <a:gd name="connsiteY7" fmla="*/ 198398 h 198398"/>
                <a:gd name="connsiteX8" fmla="*/ 198421 w 198420"/>
                <a:gd name="connsiteY8" fmla="*/ 164924 h 198398"/>
                <a:gd name="connsiteX9" fmla="*/ 198421 w 198420"/>
                <a:gd name="connsiteY9" fmla="*/ 79805 h 198398"/>
                <a:gd name="connsiteX10" fmla="*/ 118609 w 198420"/>
                <a:gd name="connsiteY10" fmla="*/ 0 h 198398"/>
                <a:gd name="connsiteX11" fmla="*/ 176096 w 198420"/>
                <a:gd name="connsiteY11" fmla="*/ 164924 h 198398"/>
                <a:gd name="connsiteX12" fmla="*/ 164943 w 198420"/>
                <a:gd name="connsiteY12" fmla="*/ 176074 h 198398"/>
                <a:gd name="connsiteX13" fmla="*/ 153790 w 198420"/>
                <a:gd name="connsiteY13" fmla="*/ 164924 h 198398"/>
                <a:gd name="connsiteX14" fmla="*/ 153790 w 198420"/>
                <a:gd name="connsiteY14" fmla="*/ 79805 h 198398"/>
                <a:gd name="connsiteX15" fmla="*/ 118607 w 198420"/>
                <a:gd name="connsiteY15" fmla="*/ 44625 h 198398"/>
                <a:gd name="connsiteX16" fmla="*/ 33476 w 198420"/>
                <a:gd name="connsiteY16" fmla="*/ 44625 h 198398"/>
                <a:gd name="connsiteX17" fmla="*/ 22323 w 198420"/>
                <a:gd name="connsiteY17" fmla="*/ 33474 h 198398"/>
                <a:gd name="connsiteX18" fmla="*/ 33476 w 198420"/>
                <a:gd name="connsiteY18" fmla="*/ 22324 h 198398"/>
                <a:gd name="connsiteX19" fmla="*/ 118607 w 198420"/>
                <a:gd name="connsiteY19" fmla="*/ 22324 h 198398"/>
                <a:gd name="connsiteX20" fmla="*/ 176096 w 198420"/>
                <a:gd name="connsiteY20" fmla="*/ 79805 h 198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8420" h="198398">
                  <a:moveTo>
                    <a:pt x="118609" y="0"/>
                  </a:moveTo>
                  <a:lnTo>
                    <a:pt x="33477" y="0"/>
                  </a:lnTo>
                  <a:cubicBezTo>
                    <a:pt x="15018" y="0"/>
                    <a:pt x="0" y="15017"/>
                    <a:pt x="0" y="33474"/>
                  </a:cubicBezTo>
                  <a:cubicBezTo>
                    <a:pt x="0" y="51932"/>
                    <a:pt x="15018" y="66949"/>
                    <a:pt x="33477" y="66949"/>
                  </a:cubicBezTo>
                  <a:lnTo>
                    <a:pt x="118609" y="66949"/>
                  </a:lnTo>
                  <a:cubicBezTo>
                    <a:pt x="125699" y="66949"/>
                    <a:pt x="131467" y="72716"/>
                    <a:pt x="131467" y="79805"/>
                  </a:cubicBezTo>
                  <a:lnTo>
                    <a:pt x="131467" y="164924"/>
                  </a:lnTo>
                  <a:cubicBezTo>
                    <a:pt x="131467" y="183382"/>
                    <a:pt x="146486" y="198398"/>
                    <a:pt x="164945" y="198398"/>
                  </a:cubicBezTo>
                  <a:cubicBezTo>
                    <a:pt x="183404" y="198398"/>
                    <a:pt x="198421" y="183383"/>
                    <a:pt x="198421" y="164924"/>
                  </a:cubicBezTo>
                  <a:lnTo>
                    <a:pt x="198421" y="79805"/>
                  </a:lnTo>
                  <a:cubicBezTo>
                    <a:pt x="198421" y="35801"/>
                    <a:pt x="162617" y="0"/>
                    <a:pt x="118609" y="0"/>
                  </a:cubicBezTo>
                  <a:close/>
                  <a:moveTo>
                    <a:pt x="176096" y="164924"/>
                  </a:moveTo>
                  <a:cubicBezTo>
                    <a:pt x="176096" y="171072"/>
                    <a:pt x="171093" y="176074"/>
                    <a:pt x="164943" y="176074"/>
                  </a:cubicBezTo>
                  <a:cubicBezTo>
                    <a:pt x="158794" y="176074"/>
                    <a:pt x="153790" y="171072"/>
                    <a:pt x="153790" y="164924"/>
                  </a:cubicBezTo>
                  <a:lnTo>
                    <a:pt x="153790" y="79805"/>
                  </a:lnTo>
                  <a:cubicBezTo>
                    <a:pt x="153790" y="60406"/>
                    <a:pt x="138007" y="44625"/>
                    <a:pt x="118607" y="44625"/>
                  </a:cubicBezTo>
                  <a:lnTo>
                    <a:pt x="33476" y="44625"/>
                  </a:lnTo>
                  <a:cubicBezTo>
                    <a:pt x="27326" y="44625"/>
                    <a:pt x="22323" y="39623"/>
                    <a:pt x="22323" y="33474"/>
                  </a:cubicBezTo>
                  <a:cubicBezTo>
                    <a:pt x="22323" y="27326"/>
                    <a:pt x="27328" y="22324"/>
                    <a:pt x="33476" y="22324"/>
                  </a:cubicBezTo>
                  <a:lnTo>
                    <a:pt x="118607" y="22324"/>
                  </a:lnTo>
                  <a:cubicBezTo>
                    <a:pt x="150307" y="22324"/>
                    <a:pt x="176096" y="48110"/>
                    <a:pt x="176096" y="79805"/>
                  </a:cubicBezTo>
                  <a:close/>
                </a:path>
              </a:pathLst>
            </a:custGeom>
            <a:solidFill>
              <a:srgbClr val="000000"/>
            </a:solidFill>
            <a:ln w="1488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36" name="Frihandsfigur: Form 435">
              <a:extLst>
                <a:ext uri="{FF2B5EF4-FFF2-40B4-BE49-F238E27FC236}">
                  <a16:creationId xmlns:a16="http://schemas.microsoft.com/office/drawing/2014/main" id="{47583BCC-93D1-1412-14EA-60894508D4BA}"/>
                </a:ext>
              </a:extLst>
            </p:cNvPr>
            <p:cNvSpPr/>
            <p:nvPr/>
          </p:nvSpPr>
          <p:spPr>
            <a:xfrm>
              <a:off x="1440356" y="2743563"/>
              <a:ext cx="310079" cy="310041"/>
            </a:xfrm>
            <a:custGeom>
              <a:avLst/>
              <a:gdLst>
                <a:gd name="connsiteX0" fmla="*/ 164945 w 198422"/>
                <a:gd name="connsiteY0" fmla="*/ 131451 h 198398"/>
                <a:gd name="connsiteX1" fmla="*/ 79814 w 198422"/>
                <a:gd name="connsiteY1" fmla="*/ 131451 h 198398"/>
                <a:gd name="connsiteX2" fmla="*/ 66955 w 198422"/>
                <a:gd name="connsiteY2" fmla="*/ 118594 h 198398"/>
                <a:gd name="connsiteX3" fmla="*/ 66955 w 198422"/>
                <a:gd name="connsiteY3" fmla="*/ 33474 h 198398"/>
                <a:gd name="connsiteX4" fmla="*/ 33477 w 198422"/>
                <a:gd name="connsiteY4" fmla="*/ 0 h 198398"/>
                <a:gd name="connsiteX5" fmla="*/ 0 w 198422"/>
                <a:gd name="connsiteY5" fmla="*/ 33474 h 198398"/>
                <a:gd name="connsiteX6" fmla="*/ 0 w 198422"/>
                <a:gd name="connsiteY6" fmla="*/ 118594 h 198398"/>
                <a:gd name="connsiteX7" fmla="*/ 79814 w 198422"/>
                <a:gd name="connsiteY7" fmla="*/ 198398 h 198398"/>
                <a:gd name="connsiteX8" fmla="*/ 164945 w 198422"/>
                <a:gd name="connsiteY8" fmla="*/ 198398 h 198398"/>
                <a:gd name="connsiteX9" fmla="*/ 198422 w 198422"/>
                <a:gd name="connsiteY9" fmla="*/ 164924 h 198398"/>
                <a:gd name="connsiteX10" fmla="*/ 164945 w 198422"/>
                <a:gd name="connsiteY10" fmla="*/ 131451 h 198398"/>
                <a:gd name="connsiteX11" fmla="*/ 164945 w 198422"/>
                <a:gd name="connsiteY11" fmla="*/ 176074 h 198398"/>
                <a:gd name="connsiteX12" fmla="*/ 79814 w 198422"/>
                <a:gd name="connsiteY12" fmla="*/ 176074 h 198398"/>
                <a:gd name="connsiteX13" fmla="*/ 22324 w 198422"/>
                <a:gd name="connsiteY13" fmla="*/ 118594 h 198398"/>
                <a:gd name="connsiteX14" fmla="*/ 22324 w 198422"/>
                <a:gd name="connsiteY14" fmla="*/ 33474 h 198398"/>
                <a:gd name="connsiteX15" fmla="*/ 33477 w 198422"/>
                <a:gd name="connsiteY15" fmla="*/ 22324 h 198398"/>
                <a:gd name="connsiteX16" fmla="*/ 44631 w 198422"/>
                <a:gd name="connsiteY16" fmla="*/ 33474 h 198398"/>
                <a:gd name="connsiteX17" fmla="*/ 44631 w 198422"/>
                <a:gd name="connsiteY17" fmla="*/ 118594 h 198398"/>
                <a:gd name="connsiteX18" fmla="*/ 79814 w 198422"/>
                <a:gd name="connsiteY18" fmla="*/ 153775 h 198398"/>
                <a:gd name="connsiteX19" fmla="*/ 164945 w 198422"/>
                <a:gd name="connsiteY19" fmla="*/ 153775 h 198398"/>
                <a:gd name="connsiteX20" fmla="*/ 176098 w 198422"/>
                <a:gd name="connsiteY20" fmla="*/ 164924 h 198398"/>
                <a:gd name="connsiteX21" fmla="*/ 164945 w 198422"/>
                <a:gd name="connsiteY21" fmla="*/ 176074 h 198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98422" h="198398">
                  <a:moveTo>
                    <a:pt x="164945" y="131451"/>
                  </a:moveTo>
                  <a:lnTo>
                    <a:pt x="79814" y="131451"/>
                  </a:lnTo>
                  <a:cubicBezTo>
                    <a:pt x="72723" y="131451"/>
                    <a:pt x="66955" y="125684"/>
                    <a:pt x="66955" y="118594"/>
                  </a:cubicBezTo>
                  <a:lnTo>
                    <a:pt x="66955" y="33474"/>
                  </a:lnTo>
                  <a:cubicBezTo>
                    <a:pt x="66955" y="15017"/>
                    <a:pt x="51937" y="0"/>
                    <a:pt x="33477" y="0"/>
                  </a:cubicBezTo>
                  <a:cubicBezTo>
                    <a:pt x="15018" y="-1"/>
                    <a:pt x="0" y="15015"/>
                    <a:pt x="0" y="33474"/>
                  </a:cubicBezTo>
                  <a:lnTo>
                    <a:pt x="0" y="118594"/>
                  </a:lnTo>
                  <a:cubicBezTo>
                    <a:pt x="0" y="162598"/>
                    <a:pt x="35805" y="198398"/>
                    <a:pt x="79814" y="198398"/>
                  </a:cubicBezTo>
                  <a:lnTo>
                    <a:pt x="164945" y="198398"/>
                  </a:lnTo>
                  <a:cubicBezTo>
                    <a:pt x="183404" y="198398"/>
                    <a:pt x="198422" y="183382"/>
                    <a:pt x="198422" y="164924"/>
                  </a:cubicBezTo>
                  <a:cubicBezTo>
                    <a:pt x="198422" y="146466"/>
                    <a:pt x="183404" y="131451"/>
                    <a:pt x="164945" y="131451"/>
                  </a:cubicBezTo>
                  <a:close/>
                  <a:moveTo>
                    <a:pt x="164945" y="176074"/>
                  </a:moveTo>
                  <a:lnTo>
                    <a:pt x="79814" y="176074"/>
                  </a:lnTo>
                  <a:cubicBezTo>
                    <a:pt x="48115" y="176074"/>
                    <a:pt x="22324" y="150288"/>
                    <a:pt x="22324" y="118594"/>
                  </a:cubicBezTo>
                  <a:lnTo>
                    <a:pt x="22324" y="33474"/>
                  </a:lnTo>
                  <a:cubicBezTo>
                    <a:pt x="22324" y="27326"/>
                    <a:pt x="27328" y="22324"/>
                    <a:pt x="33477" y="22324"/>
                  </a:cubicBezTo>
                  <a:cubicBezTo>
                    <a:pt x="39627" y="22324"/>
                    <a:pt x="44631" y="27326"/>
                    <a:pt x="44631" y="33474"/>
                  </a:cubicBezTo>
                  <a:lnTo>
                    <a:pt x="44631" y="118594"/>
                  </a:lnTo>
                  <a:cubicBezTo>
                    <a:pt x="44631" y="137992"/>
                    <a:pt x="60414" y="153775"/>
                    <a:pt x="79814" y="153775"/>
                  </a:cubicBezTo>
                  <a:lnTo>
                    <a:pt x="164945" y="153775"/>
                  </a:lnTo>
                  <a:cubicBezTo>
                    <a:pt x="171094" y="153775"/>
                    <a:pt x="176098" y="158776"/>
                    <a:pt x="176098" y="164924"/>
                  </a:cubicBezTo>
                  <a:cubicBezTo>
                    <a:pt x="176098" y="171072"/>
                    <a:pt x="171094" y="176074"/>
                    <a:pt x="164945" y="176074"/>
                  </a:cubicBezTo>
                  <a:close/>
                </a:path>
              </a:pathLst>
            </a:custGeom>
            <a:solidFill>
              <a:srgbClr val="000000"/>
            </a:solidFill>
            <a:ln w="1488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37" name="Frihandsfigur: Form 436">
              <a:extLst>
                <a:ext uri="{FF2B5EF4-FFF2-40B4-BE49-F238E27FC236}">
                  <a16:creationId xmlns:a16="http://schemas.microsoft.com/office/drawing/2014/main" id="{E0A162F0-1D86-E0C9-7ABF-23F4A3A11F63}"/>
                </a:ext>
              </a:extLst>
            </p:cNvPr>
            <p:cNvSpPr/>
            <p:nvPr/>
          </p:nvSpPr>
          <p:spPr>
            <a:xfrm>
              <a:off x="2321071" y="2743561"/>
              <a:ext cx="310076" cy="310041"/>
            </a:xfrm>
            <a:custGeom>
              <a:avLst/>
              <a:gdLst>
                <a:gd name="connsiteX0" fmla="*/ 164945 w 198420"/>
                <a:gd name="connsiteY0" fmla="*/ 0 h 198398"/>
                <a:gd name="connsiteX1" fmla="*/ 131467 w 198420"/>
                <a:gd name="connsiteY1" fmla="*/ 33474 h 198398"/>
                <a:gd name="connsiteX2" fmla="*/ 131467 w 198420"/>
                <a:gd name="connsiteY2" fmla="*/ 118594 h 198398"/>
                <a:gd name="connsiteX3" fmla="*/ 118609 w 198420"/>
                <a:gd name="connsiteY3" fmla="*/ 131451 h 198398"/>
                <a:gd name="connsiteX4" fmla="*/ 33477 w 198420"/>
                <a:gd name="connsiteY4" fmla="*/ 131451 h 198398"/>
                <a:gd name="connsiteX5" fmla="*/ 0 w 198420"/>
                <a:gd name="connsiteY5" fmla="*/ 164924 h 198398"/>
                <a:gd name="connsiteX6" fmla="*/ 33477 w 198420"/>
                <a:gd name="connsiteY6" fmla="*/ 198398 h 198398"/>
                <a:gd name="connsiteX7" fmla="*/ 118609 w 198420"/>
                <a:gd name="connsiteY7" fmla="*/ 198398 h 198398"/>
                <a:gd name="connsiteX8" fmla="*/ 198421 w 198420"/>
                <a:gd name="connsiteY8" fmla="*/ 118594 h 198398"/>
                <a:gd name="connsiteX9" fmla="*/ 198421 w 198420"/>
                <a:gd name="connsiteY9" fmla="*/ 33474 h 198398"/>
                <a:gd name="connsiteX10" fmla="*/ 164945 w 198420"/>
                <a:gd name="connsiteY10" fmla="*/ 0 h 198398"/>
                <a:gd name="connsiteX11" fmla="*/ 176098 w 198420"/>
                <a:gd name="connsiteY11" fmla="*/ 118595 h 198398"/>
                <a:gd name="connsiteX12" fmla="*/ 118610 w 198420"/>
                <a:gd name="connsiteY12" fmla="*/ 176076 h 198398"/>
                <a:gd name="connsiteX13" fmla="*/ 33479 w 198420"/>
                <a:gd name="connsiteY13" fmla="*/ 176076 h 198398"/>
                <a:gd name="connsiteX14" fmla="*/ 22326 w 198420"/>
                <a:gd name="connsiteY14" fmla="*/ 164925 h 198398"/>
                <a:gd name="connsiteX15" fmla="*/ 33479 w 198420"/>
                <a:gd name="connsiteY15" fmla="*/ 153777 h 198398"/>
                <a:gd name="connsiteX16" fmla="*/ 118610 w 198420"/>
                <a:gd name="connsiteY16" fmla="*/ 153777 h 198398"/>
                <a:gd name="connsiteX17" fmla="*/ 153793 w 198420"/>
                <a:gd name="connsiteY17" fmla="*/ 118595 h 198398"/>
                <a:gd name="connsiteX18" fmla="*/ 153793 w 198420"/>
                <a:gd name="connsiteY18" fmla="*/ 33476 h 198398"/>
                <a:gd name="connsiteX19" fmla="*/ 164946 w 198420"/>
                <a:gd name="connsiteY19" fmla="*/ 22326 h 198398"/>
                <a:gd name="connsiteX20" fmla="*/ 176099 w 198420"/>
                <a:gd name="connsiteY20" fmla="*/ 33476 h 198398"/>
                <a:gd name="connsiteX21" fmla="*/ 176099 w 198420"/>
                <a:gd name="connsiteY21" fmla="*/ 118595 h 198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98420" h="198398">
                  <a:moveTo>
                    <a:pt x="164945" y="0"/>
                  </a:moveTo>
                  <a:cubicBezTo>
                    <a:pt x="146486" y="0"/>
                    <a:pt x="131467" y="15017"/>
                    <a:pt x="131467" y="33474"/>
                  </a:cubicBezTo>
                  <a:lnTo>
                    <a:pt x="131467" y="118594"/>
                  </a:lnTo>
                  <a:cubicBezTo>
                    <a:pt x="131467" y="125684"/>
                    <a:pt x="125699" y="131451"/>
                    <a:pt x="118609" y="131451"/>
                  </a:cubicBezTo>
                  <a:lnTo>
                    <a:pt x="33477" y="131451"/>
                  </a:lnTo>
                  <a:cubicBezTo>
                    <a:pt x="15018" y="131451"/>
                    <a:pt x="0" y="146468"/>
                    <a:pt x="0" y="164924"/>
                  </a:cubicBezTo>
                  <a:cubicBezTo>
                    <a:pt x="0" y="183382"/>
                    <a:pt x="15018" y="198398"/>
                    <a:pt x="33477" y="198398"/>
                  </a:cubicBezTo>
                  <a:lnTo>
                    <a:pt x="118609" y="198398"/>
                  </a:lnTo>
                  <a:cubicBezTo>
                    <a:pt x="162617" y="198398"/>
                    <a:pt x="198421" y="162598"/>
                    <a:pt x="198421" y="118594"/>
                  </a:cubicBezTo>
                  <a:lnTo>
                    <a:pt x="198421" y="33474"/>
                  </a:lnTo>
                  <a:cubicBezTo>
                    <a:pt x="198422" y="15017"/>
                    <a:pt x="183404" y="0"/>
                    <a:pt x="164945" y="0"/>
                  </a:cubicBezTo>
                  <a:close/>
                  <a:moveTo>
                    <a:pt x="176098" y="118595"/>
                  </a:moveTo>
                  <a:cubicBezTo>
                    <a:pt x="176098" y="150290"/>
                    <a:pt x="150309" y="176076"/>
                    <a:pt x="118610" y="176076"/>
                  </a:cubicBezTo>
                  <a:lnTo>
                    <a:pt x="33479" y="176076"/>
                  </a:lnTo>
                  <a:cubicBezTo>
                    <a:pt x="27329" y="176076"/>
                    <a:pt x="22326" y="171074"/>
                    <a:pt x="22326" y="164925"/>
                  </a:cubicBezTo>
                  <a:cubicBezTo>
                    <a:pt x="22326" y="158777"/>
                    <a:pt x="27329" y="153777"/>
                    <a:pt x="33479" y="153777"/>
                  </a:cubicBezTo>
                  <a:lnTo>
                    <a:pt x="118610" y="153777"/>
                  </a:lnTo>
                  <a:cubicBezTo>
                    <a:pt x="138010" y="153777"/>
                    <a:pt x="153793" y="137995"/>
                    <a:pt x="153793" y="118595"/>
                  </a:cubicBezTo>
                  <a:lnTo>
                    <a:pt x="153793" y="33476"/>
                  </a:lnTo>
                  <a:cubicBezTo>
                    <a:pt x="153793" y="27328"/>
                    <a:pt x="158797" y="22326"/>
                    <a:pt x="164946" y="22326"/>
                  </a:cubicBezTo>
                  <a:cubicBezTo>
                    <a:pt x="171096" y="22326"/>
                    <a:pt x="176099" y="27328"/>
                    <a:pt x="176099" y="33476"/>
                  </a:cubicBezTo>
                  <a:lnTo>
                    <a:pt x="176099" y="118595"/>
                  </a:lnTo>
                  <a:close/>
                </a:path>
              </a:pathLst>
            </a:custGeom>
            <a:solidFill>
              <a:srgbClr val="000000"/>
            </a:solidFill>
            <a:ln w="1488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438" name="Grupp 437">
            <a:extLst>
              <a:ext uri="{FF2B5EF4-FFF2-40B4-BE49-F238E27FC236}">
                <a16:creationId xmlns:a16="http://schemas.microsoft.com/office/drawing/2014/main" id="{6B213D4F-0DBE-9D55-1B35-87F7F40E52A6}"/>
              </a:ext>
            </a:extLst>
          </p:cNvPr>
          <p:cNvGrpSpPr/>
          <p:nvPr/>
        </p:nvGrpSpPr>
        <p:grpSpPr>
          <a:xfrm>
            <a:off x="4038748" y="2636037"/>
            <a:ext cx="293693" cy="220703"/>
            <a:chOff x="7179997" y="1660937"/>
            <a:chExt cx="1301236" cy="977846"/>
          </a:xfrm>
        </p:grpSpPr>
        <p:sp>
          <p:nvSpPr>
            <p:cNvPr id="439" name="Frihandsfigur: Form 438">
              <a:extLst>
                <a:ext uri="{FF2B5EF4-FFF2-40B4-BE49-F238E27FC236}">
                  <a16:creationId xmlns:a16="http://schemas.microsoft.com/office/drawing/2014/main" id="{EAE85FAE-1A32-59AA-E4BD-0148049FD580}"/>
                </a:ext>
              </a:extLst>
            </p:cNvPr>
            <p:cNvSpPr/>
            <p:nvPr/>
          </p:nvSpPr>
          <p:spPr>
            <a:xfrm>
              <a:off x="8049911" y="2392596"/>
              <a:ext cx="396370" cy="206952"/>
            </a:xfrm>
            <a:custGeom>
              <a:avLst/>
              <a:gdLst>
                <a:gd name="connsiteX0" fmla="*/ 1225189 w 1485418"/>
                <a:gd name="connsiteY0" fmla="*/ 152312 h 775563"/>
                <a:gd name="connsiteX1" fmla="*/ 853041 w 1485418"/>
                <a:gd name="connsiteY1" fmla="*/ 0 h 775563"/>
                <a:gd name="connsiteX2" fmla="*/ 704198 w 1485418"/>
                <a:gd name="connsiteY2" fmla="*/ 0 h 775563"/>
                <a:gd name="connsiteX3" fmla="*/ 339446 w 1485418"/>
                <a:gd name="connsiteY3" fmla="*/ 152322 h 775563"/>
                <a:gd name="connsiteX4" fmla="*/ 236805 w 1485418"/>
                <a:gd name="connsiteY4" fmla="*/ 214399 h 775563"/>
                <a:gd name="connsiteX5" fmla="*/ 0 w 1485418"/>
                <a:gd name="connsiteY5" fmla="*/ 418996 h 775563"/>
                <a:gd name="connsiteX6" fmla="*/ 33681 w 1485418"/>
                <a:gd name="connsiteY6" fmla="*/ 657560 h 775563"/>
                <a:gd name="connsiteX7" fmla="*/ 161781 w 1485418"/>
                <a:gd name="connsiteY7" fmla="*/ 665422 h 775563"/>
                <a:gd name="connsiteX8" fmla="*/ 171287 w 1485418"/>
                <a:gd name="connsiteY8" fmla="*/ 775259 h 775563"/>
                <a:gd name="connsiteX9" fmla="*/ 171335 w 1485418"/>
                <a:gd name="connsiteY9" fmla="*/ 775563 h 775563"/>
                <a:gd name="connsiteX10" fmla="*/ 1427324 w 1485418"/>
                <a:gd name="connsiteY10" fmla="*/ 775563 h 775563"/>
                <a:gd name="connsiteX11" fmla="*/ 1485418 w 1485418"/>
                <a:gd name="connsiteY11" fmla="*/ 717469 h 775563"/>
                <a:gd name="connsiteX12" fmla="*/ 1485418 w 1485418"/>
                <a:gd name="connsiteY12" fmla="*/ 553693 h 775563"/>
                <a:gd name="connsiteX13" fmla="*/ 1225189 w 1485418"/>
                <a:gd name="connsiteY13" fmla="*/ 152312 h 775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85418" h="775563">
                  <a:moveTo>
                    <a:pt x="1225189" y="152312"/>
                  </a:moveTo>
                  <a:lnTo>
                    <a:pt x="853041" y="0"/>
                  </a:lnTo>
                  <a:lnTo>
                    <a:pt x="704198" y="0"/>
                  </a:lnTo>
                  <a:lnTo>
                    <a:pt x="339446" y="152322"/>
                  </a:lnTo>
                  <a:cubicBezTo>
                    <a:pt x="301905" y="168026"/>
                    <a:pt x="267502" y="189092"/>
                    <a:pt x="236805" y="214399"/>
                  </a:cubicBezTo>
                  <a:lnTo>
                    <a:pt x="0" y="418996"/>
                  </a:lnTo>
                  <a:lnTo>
                    <a:pt x="33681" y="657560"/>
                  </a:lnTo>
                  <a:lnTo>
                    <a:pt x="161781" y="665422"/>
                  </a:lnTo>
                  <a:lnTo>
                    <a:pt x="171287" y="775259"/>
                  </a:lnTo>
                  <a:lnTo>
                    <a:pt x="171335" y="775563"/>
                  </a:lnTo>
                  <a:lnTo>
                    <a:pt x="1427324" y="775563"/>
                  </a:lnTo>
                  <a:cubicBezTo>
                    <a:pt x="1459409" y="775563"/>
                    <a:pt x="1485418" y="749554"/>
                    <a:pt x="1485418" y="717469"/>
                  </a:cubicBezTo>
                  <a:lnTo>
                    <a:pt x="1485418" y="553693"/>
                  </a:lnTo>
                  <a:cubicBezTo>
                    <a:pt x="1485418" y="377006"/>
                    <a:pt x="1382387" y="218096"/>
                    <a:pt x="1225189" y="152312"/>
                  </a:cubicBezTo>
                  <a:close/>
                </a:path>
              </a:pathLst>
            </a:custGeom>
            <a:solidFill>
              <a:schemeClr val="accent1"/>
            </a:solidFill>
            <a:ln w="9506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40" name="Frihandsfigur: Form 439">
              <a:extLst>
                <a:ext uri="{FF2B5EF4-FFF2-40B4-BE49-F238E27FC236}">
                  <a16:creationId xmlns:a16="http://schemas.microsoft.com/office/drawing/2014/main" id="{8781736A-934D-7F2E-F21D-341EDB645ABC}"/>
                </a:ext>
              </a:extLst>
            </p:cNvPr>
            <p:cNvSpPr/>
            <p:nvPr/>
          </p:nvSpPr>
          <p:spPr>
            <a:xfrm>
              <a:off x="8049911" y="2392594"/>
              <a:ext cx="275734" cy="206952"/>
            </a:xfrm>
            <a:custGeom>
              <a:avLst/>
              <a:gdLst>
                <a:gd name="connsiteX0" fmla="*/ 853041 w 1033330"/>
                <a:gd name="connsiteY0" fmla="*/ 0 h 775563"/>
                <a:gd name="connsiteX1" fmla="*/ 704198 w 1033330"/>
                <a:gd name="connsiteY1" fmla="*/ 0 h 775563"/>
                <a:gd name="connsiteX2" fmla="*/ 658378 w 1033330"/>
                <a:gd name="connsiteY2" fmla="*/ 19136 h 775563"/>
                <a:gd name="connsiteX3" fmla="*/ 339446 w 1033330"/>
                <a:gd name="connsiteY3" fmla="*/ 152322 h 775563"/>
                <a:gd name="connsiteX4" fmla="*/ 236805 w 1033330"/>
                <a:gd name="connsiteY4" fmla="*/ 214399 h 775563"/>
                <a:gd name="connsiteX5" fmla="*/ 0 w 1033330"/>
                <a:gd name="connsiteY5" fmla="*/ 418996 h 775563"/>
                <a:gd name="connsiteX6" fmla="*/ 11987 w 1033330"/>
                <a:gd name="connsiteY6" fmla="*/ 503917 h 775563"/>
                <a:gd name="connsiteX7" fmla="*/ 33681 w 1033330"/>
                <a:gd name="connsiteY7" fmla="*/ 657560 h 775563"/>
                <a:gd name="connsiteX8" fmla="*/ 79198 w 1033330"/>
                <a:gd name="connsiteY8" fmla="*/ 660355 h 775563"/>
                <a:gd name="connsiteX9" fmla="*/ 161781 w 1033330"/>
                <a:gd name="connsiteY9" fmla="*/ 665422 h 775563"/>
                <a:gd name="connsiteX10" fmla="*/ 171287 w 1033330"/>
                <a:gd name="connsiteY10" fmla="*/ 775259 h 775563"/>
                <a:gd name="connsiteX11" fmla="*/ 171335 w 1033330"/>
                <a:gd name="connsiteY11" fmla="*/ 775563 h 775563"/>
                <a:gd name="connsiteX12" fmla="*/ 389897 w 1033330"/>
                <a:gd name="connsiteY12" fmla="*/ 775563 h 775563"/>
                <a:gd name="connsiteX13" fmla="*/ 414338 w 1033330"/>
                <a:gd name="connsiteY13" fmla="*/ 667732 h 775563"/>
                <a:gd name="connsiteX14" fmla="*/ 414338 w 1033330"/>
                <a:gd name="connsiteY14" fmla="*/ 368089 h 775563"/>
                <a:gd name="connsiteX15" fmla="*/ 412161 w 1033330"/>
                <a:gd name="connsiteY15" fmla="*/ 315547 h 775563"/>
                <a:gd name="connsiteX16" fmla="*/ 467194 w 1033330"/>
                <a:gd name="connsiteY16" fmla="*/ 225569 h 775563"/>
                <a:gd name="connsiteX17" fmla="*/ 537522 w 1033330"/>
                <a:gd name="connsiteY17" fmla="*/ 196203 h 775563"/>
                <a:gd name="connsiteX18" fmla="*/ 598877 w 1033330"/>
                <a:gd name="connsiteY18" fmla="*/ 208372 h 775563"/>
                <a:gd name="connsiteX19" fmla="*/ 782313 w 1033330"/>
                <a:gd name="connsiteY19" fmla="*/ 286752 h 775563"/>
                <a:gd name="connsiteX20" fmla="*/ 1033330 w 1033330"/>
                <a:gd name="connsiteY20" fmla="*/ 73798 h 775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33330" h="775563">
                  <a:moveTo>
                    <a:pt x="853041" y="0"/>
                  </a:moveTo>
                  <a:lnTo>
                    <a:pt x="704198" y="0"/>
                  </a:lnTo>
                  <a:lnTo>
                    <a:pt x="658378" y="19136"/>
                  </a:lnTo>
                  <a:lnTo>
                    <a:pt x="339446" y="152322"/>
                  </a:lnTo>
                  <a:cubicBezTo>
                    <a:pt x="301905" y="168026"/>
                    <a:pt x="267502" y="189092"/>
                    <a:pt x="236805" y="214399"/>
                  </a:cubicBezTo>
                  <a:lnTo>
                    <a:pt x="0" y="418996"/>
                  </a:lnTo>
                  <a:lnTo>
                    <a:pt x="11987" y="503917"/>
                  </a:lnTo>
                  <a:lnTo>
                    <a:pt x="33681" y="657560"/>
                  </a:lnTo>
                  <a:lnTo>
                    <a:pt x="79198" y="660355"/>
                  </a:lnTo>
                  <a:lnTo>
                    <a:pt x="161781" y="665422"/>
                  </a:lnTo>
                  <a:lnTo>
                    <a:pt x="171287" y="775259"/>
                  </a:lnTo>
                  <a:lnTo>
                    <a:pt x="171335" y="775563"/>
                  </a:lnTo>
                  <a:lnTo>
                    <a:pt x="389897" y="775563"/>
                  </a:lnTo>
                  <a:cubicBezTo>
                    <a:pt x="405554" y="742880"/>
                    <a:pt x="414338" y="706319"/>
                    <a:pt x="414338" y="667732"/>
                  </a:cubicBezTo>
                  <a:lnTo>
                    <a:pt x="414338" y="368089"/>
                  </a:lnTo>
                  <a:cubicBezTo>
                    <a:pt x="414338" y="350464"/>
                    <a:pt x="413596" y="332944"/>
                    <a:pt x="412161" y="315547"/>
                  </a:cubicBezTo>
                  <a:cubicBezTo>
                    <a:pt x="408967" y="276827"/>
                    <a:pt x="431335" y="240541"/>
                    <a:pt x="467194" y="225569"/>
                  </a:cubicBezTo>
                  <a:lnTo>
                    <a:pt x="537522" y="196203"/>
                  </a:lnTo>
                  <a:cubicBezTo>
                    <a:pt x="558551" y="187419"/>
                    <a:pt x="583106" y="191925"/>
                    <a:pt x="598877" y="208372"/>
                  </a:cubicBezTo>
                  <a:cubicBezTo>
                    <a:pt x="645192" y="256645"/>
                    <a:pt x="710283" y="286752"/>
                    <a:pt x="782313" y="286752"/>
                  </a:cubicBezTo>
                  <a:cubicBezTo>
                    <a:pt x="908482" y="286752"/>
                    <a:pt x="1013452" y="194426"/>
                    <a:pt x="1033330" y="73798"/>
                  </a:cubicBezTo>
                  <a:close/>
                </a:path>
              </a:pathLst>
            </a:custGeom>
            <a:solidFill>
              <a:srgbClr val="000000">
                <a:alpha val="25098"/>
              </a:srgbClr>
            </a:solidFill>
            <a:ln w="9506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41" name="Frihandsfigur: Form 440">
              <a:extLst>
                <a:ext uri="{FF2B5EF4-FFF2-40B4-BE49-F238E27FC236}">
                  <a16:creationId xmlns:a16="http://schemas.microsoft.com/office/drawing/2014/main" id="{0FC4481E-5D12-8D36-4710-3333373C7F83}"/>
                </a:ext>
              </a:extLst>
            </p:cNvPr>
            <p:cNvSpPr/>
            <p:nvPr/>
          </p:nvSpPr>
          <p:spPr>
            <a:xfrm>
              <a:off x="8216133" y="2277843"/>
              <a:ext cx="85060" cy="165900"/>
            </a:xfrm>
            <a:custGeom>
              <a:avLst/>
              <a:gdLst>
                <a:gd name="connsiteX0" fmla="*/ 318770 w 318769"/>
                <a:gd name="connsiteY0" fmla="*/ 462336 h 621720"/>
                <a:gd name="connsiteX1" fmla="*/ 159385 w 318769"/>
                <a:gd name="connsiteY1" fmla="*/ 621721 h 621720"/>
                <a:gd name="connsiteX2" fmla="*/ 0 w 318769"/>
                <a:gd name="connsiteY2" fmla="*/ 462336 h 621720"/>
                <a:gd name="connsiteX3" fmla="*/ 0 w 318769"/>
                <a:gd name="connsiteY3" fmla="*/ 0 h 621720"/>
                <a:gd name="connsiteX4" fmla="*/ 318770 w 318769"/>
                <a:gd name="connsiteY4" fmla="*/ 0 h 62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8769" h="621720">
                  <a:moveTo>
                    <a:pt x="318770" y="462336"/>
                  </a:moveTo>
                  <a:cubicBezTo>
                    <a:pt x="318770" y="550365"/>
                    <a:pt x="247414" y="621721"/>
                    <a:pt x="159385" y="621721"/>
                  </a:cubicBezTo>
                  <a:cubicBezTo>
                    <a:pt x="71355" y="621721"/>
                    <a:pt x="0" y="550365"/>
                    <a:pt x="0" y="462336"/>
                  </a:cubicBezTo>
                  <a:lnTo>
                    <a:pt x="0" y="0"/>
                  </a:lnTo>
                  <a:lnTo>
                    <a:pt x="318770" y="0"/>
                  </a:lnTo>
                  <a:close/>
                </a:path>
              </a:pathLst>
            </a:custGeom>
            <a:solidFill>
              <a:srgbClr val="F4F4F4"/>
            </a:solidFill>
            <a:ln w="9506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42" name="Frihandsfigur: Form 441">
              <a:extLst>
                <a:ext uri="{FF2B5EF4-FFF2-40B4-BE49-F238E27FC236}">
                  <a16:creationId xmlns:a16="http://schemas.microsoft.com/office/drawing/2014/main" id="{27A7784A-6A30-99D4-0CBF-2E3721AF0F5E}"/>
                </a:ext>
              </a:extLst>
            </p:cNvPr>
            <p:cNvSpPr/>
            <p:nvPr/>
          </p:nvSpPr>
          <p:spPr>
            <a:xfrm>
              <a:off x="8058689" y="1969538"/>
              <a:ext cx="403465" cy="357731"/>
            </a:xfrm>
            <a:custGeom>
              <a:avLst/>
              <a:gdLst>
                <a:gd name="connsiteX0" fmla="*/ 1087016 w 1512009"/>
                <a:gd name="connsiteY0" fmla="*/ 1334304 h 1340616"/>
                <a:gd name="connsiteX1" fmla="*/ 1099840 w 1512009"/>
                <a:gd name="connsiteY1" fmla="*/ 1336272 h 1340616"/>
                <a:gd name="connsiteX2" fmla="*/ 1481913 w 1512009"/>
                <a:gd name="connsiteY2" fmla="*/ 840901 h 1340616"/>
                <a:gd name="connsiteX3" fmla="*/ 1374709 w 1512009"/>
                <a:gd name="connsiteY3" fmla="*/ 593724 h 1340616"/>
                <a:gd name="connsiteX4" fmla="*/ 1353063 w 1512009"/>
                <a:gd name="connsiteY4" fmla="*/ 517302 h 1340616"/>
                <a:gd name="connsiteX5" fmla="*/ 756002 w 1512009"/>
                <a:gd name="connsiteY5" fmla="*/ 0 h 1340616"/>
                <a:gd name="connsiteX6" fmla="*/ 158941 w 1512009"/>
                <a:gd name="connsiteY6" fmla="*/ 517302 h 1340616"/>
                <a:gd name="connsiteX7" fmla="*/ 137295 w 1512009"/>
                <a:gd name="connsiteY7" fmla="*/ 593724 h 1340616"/>
                <a:gd name="connsiteX8" fmla="*/ 30100 w 1512009"/>
                <a:gd name="connsiteY8" fmla="*/ 840911 h 1340616"/>
                <a:gd name="connsiteX9" fmla="*/ 412173 w 1512009"/>
                <a:gd name="connsiteY9" fmla="*/ 1336281 h 1340616"/>
                <a:gd name="connsiteX10" fmla="*/ 424997 w 1512009"/>
                <a:gd name="connsiteY10" fmla="*/ 1334313 h 1340616"/>
                <a:gd name="connsiteX11" fmla="*/ 648721 w 1512009"/>
                <a:gd name="connsiteY11" fmla="*/ 1246588 h 1340616"/>
                <a:gd name="connsiteX12" fmla="*/ 843204 w 1512009"/>
                <a:gd name="connsiteY12" fmla="*/ 1246588 h 1340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12009" h="1340616">
                  <a:moveTo>
                    <a:pt x="1087016" y="1334304"/>
                  </a:moveTo>
                  <a:lnTo>
                    <a:pt x="1099840" y="1336272"/>
                  </a:lnTo>
                  <a:cubicBezTo>
                    <a:pt x="1377722" y="1378946"/>
                    <a:pt x="1593766" y="1098830"/>
                    <a:pt x="1481913" y="840901"/>
                  </a:cubicBezTo>
                  <a:lnTo>
                    <a:pt x="1374709" y="593724"/>
                  </a:lnTo>
                  <a:cubicBezTo>
                    <a:pt x="1364128" y="569321"/>
                    <a:pt x="1356846" y="543625"/>
                    <a:pt x="1353063" y="517302"/>
                  </a:cubicBezTo>
                  <a:cubicBezTo>
                    <a:pt x="1310341" y="220407"/>
                    <a:pt x="1055958" y="0"/>
                    <a:pt x="756002" y="0"/>
                  </a:cubicBezTo>
                  <a:cubicBezTo>
                    <a:pt x="456045" y="0"/>
                    <a:pt x="201663" y="220407"/>
                    <a:pt x="158941" y="517302"/>
                  </a:cubicBezTo>
                  <a:cubicBezTo>
                    <a:pt x="155157" y="543625"/>
                    <a:pt x="147875" y="569331"/>
                    <a:pt x="137295" y="593724"/>
                  </a:cubicBezTo>
                  <a:lnTo>
                    <a:pt x="30100" y="840911"/>
                  </a:lnTo>
                  <a:cubicBezTo>
                    <a:pt x="-81762" y="1098839"/>
                    <a:pt x="134290" y="1378946"/>
                    <a:pt x="412173" y="1336281"/>
                  </a:cubicBezTo>
                  <a:lnTo>
                    <a:pt x="424997" y="1334313"/>
                  </a:lnTo>
                  <a:lnTo>
                    <a:pt x="648721" y="1246588"/>
                  </a:lnTo>
                  <a:lnTo>
                    <a:pt x="843204" y="1246588"/>
                  </a:lnTo>
                  <a:close/>
                </a:path>
              </a:pathLst>
            </a:custGeom>
            <a:solidFill>
              <a:srgbClr val="CFCFCF"/>
            </a:solidFill>
            <a:ln w="9506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43" name="Frihandsfigur: Form 442">
              <a:extLst>
                <a:ext uri="{FF2B5EF4-FFF2-40B4-BE49-F238E27FC236}">
                  <a16:creationId xmlns:a16="http://schemas.microsoft.com/office/drawing/2014/main" id="{171A923F-304E-1CD2-62FF-0555FA6FA569}"/>
                </a:ext>
              </a:extLst>
            </p:cNvPr>
            <p:cNvSpPr/>
            <p:nvPr/>
          </p:nvSpPr>
          <p:spPr>
            <a:xfrm>
              <a:off x="7749334" y="2084179"/>
              <a:ext cx="165020" cy="266584"/>
            </a:xfrm>
            <a:custGeom>
              <a:avLst/>
              <a:gdLst>
                <a:gd name="connsiteX0" fmla="*/ 605427 w 618422"/>
                <a:gd name="connsiteY0" fmla="*/ 999041 h 999040"/>
                <a:gd name="connsiteX1" fmla="*/ 0 w 618422"/>
                <a:gd name="connsiteY1" fmla="*/ 999041 h 999040"/>
                <a:gd name="connsiteX2" fmla="*/ 0 w 618422"/>
                <a:gd name="connsiteY2" fmla="*/ 0 h 999040"/>
                <a:gd name="connsiteX3" fmla="*/ 618422 w 618422"/>
                <a:gd name="connsiteY3" fmla="*/ 0 h 999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8422" h="999040">
                  <a:moveTo>
                    <a:pt x="605427" y="999041"/>
                  </a:moveTo>
                  <a:lnTo>
                    <a:pt x="0" y="999041"/>
                  </a:lnTo>
                  <a:lnTo>
                    <a:pt x="0" y="0"/>
                  </a:lnTo>
                  <a:lnTo>
                    <a:pt x="618422" y="0"/>
                  </a:lnTo>
                  <a:close/>
                </a:path>
              </a:pathLst>
            </a:custGeom>
            <a:solidFill>
              <a:srgbClr val="F4F4F4"/>
            </a:solidFill>
            <a:ln w="9506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44" name="Frihandsfigur: Form 443">
              <a:extLst>
                <a:ext uri="{FF2B5EF4-FFF2-40B4-BE49-F238E27FC236}">
                  <a16:creationId xmlns:a16="http://schemas.microsoft.com/office/drawing/2014/main" id="{5E2F1850-4C89-5D46-8592-4F2F8C834A2A}"/>
                </a:ext>
              </a:extLst>
            </p:cNvPr>
            <p:cNvSpPr/>
            <p:nvPr/>
          </p:nvSpPr>
          <p:spPr>
            <a:xfrm>
              <a:off x="7199022" y="2377845"/>
              <a:ext cx="405114" cy="221697"/>
            </a:xfrm>
            <a:custGeom>
              <a:avLst/>
              <a:gdLst>
                <a:gd name="connsiteX0" fmla="*/ 1518187 w 1518186"/>
                <a:gd name="connsiteY0" fmla="*/ 341918 h 830824"/>
                <a:gd name="connsiteX1" fmla="*/ 1332079 w 1518186"/>
                <a:gd name="connsiteY1" fmla="*/ 198836 h 830824"/>
                <a:gd name="connsiteX2" fmla="*/ 1199246 w 1518186"/>
                <a:gd name="connsiteY2" fmla="*/ 127909 h 830824"/>
                <a:gd name="connsiteX3" fmla="*/ 940633 w 1518186"/>
                <a:gd name="connsiteY3" fmla="*/ 36315 h 830824"/>
                <a:gd name="connsiteX4" fmla="*/ 823105 w 1518186"/>
                <a:gd name="connsiteY4" fmla="*/ 0 h 830824"/>
                <a:gd name="connsiteX5" fmla="*/ 689150 w 1518186"/>
                <a:gd name="connsiteY5" fmla="*/ 0 h 830824"/>
                <a:gd name="connsiteX6" fmla="*/ 594751 w 1518186"/>
                <a:gd name="connsiteY6" fmla="*/ 36315 h 830824"/>
                <a:gd name="connsiteX7" fmla="*/ 336138 w 1518186"/>
                <a:gd name="connsiteY7" fmla="*/ 127909 h 830824"/>
                <a:gd name="connsiteX8" fmla="*/ 0 w 1518186"/>
                <a:gd name="connsiteY8" fmla="*/ 603554 h 830824"/>
                <a:gd name="connsiteX9" fmla="*/ 0 w 1518186"/>
                <a:gd name="connsiteY9" fmla="*/ 767834 h 830824"/>
                <a:gd name="connsiteX10" fmla="*/ 62990 w 1518186"/>
                <a:gd name="connsiteY10" fmla="*/ 830824 h 830824"/>
                <a:gd name="connsiteX11" fmla="*/ 1269575 w 1518186"/>
                <a:gd name="connsiteY11" fmla="*/ 830824 h 830824"/>
                <a:gd name="connsiteX12" fmla="*/ 1518187 w 1518186"/>
                <a:gd name="connsiteY12" fmla="*/ 341918 h 830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18186" h="830823">
                  <a:moveTo>
                    <a:pt x="1518187" y="341918"/>
                  </a:moveTo>
                  <a:lnTo>
                    <a:pt x="1332079" y="198836"/>
                  </a:lnTo>
                  <a:cubicBezTo>
                    <a:pt x="1292286" y="169205"/>
                    <a:pt x="1247729" y="145078"/>
                    <a:pt x="1199246" y="127909"/>
                  </a:cubicBezTo>
                  <a:lnTo>
                    <a:pt x="940633" y="36315"/>
                  </a:lnTo>
                  <a:lnTo>
                    <a:pt x="823105" y="0"/>
                  </a:lnTo>
                  <a:lnTo>
                    <a:pt x="689150" y="0"/>
                  </a:lnTo>
                  <a:lnTo>
                    <a:pt x="594751" y="36315"/>
                  </a:lnTo>
                  <a:lnTo>
                    <a:pt x="336138" y="127909"/>
                  </a:lnTo>
                  <a:cubicBezTo>
                    <a:pt x="134659" y="199264"/>
                    <a:pt x="0" y="389821"/>
                    <a:pt x="0" y="603554"/>
                  </a:cubicBezTo>
                  <a:lnTo>
                    <a:pt x="0" y="767834"/>
                  </a:lnTo>
                  <a:cubicBezTo>
                    <a:pt x="0" y="802628"/>
                    <a:pt x="28206" y="830824"/>
                    <a:pt x="62990" y="830824"/>
                  </a:cubicBezTo>
                  <a:lnTo>
                    <a:pt x="1269575" y="830824"/>
                  </a:lnTo>
                  <a:cubicBezTo>
                    <a:pt x="1269603" y="830777"/>
                    <a:pt x="1428389" y="516646"/>
                    <a:pt x="1518187" y="341918"/>
                  </a:cubicBezTo>
                  <a:close/>
                </a:path>
              </a:pathLst>
            </a:custGeom>
            <a:solidFill>
              <a:schemeClr val="accent1"/>
            </a:solidFill>
            <a:ln w="9506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45" name="Frihandsfigur: Form 444">
              <a:extLst>
                <a:ext uri="{FF2B5EF4-FFF2-40B4-BE49-F238E27FC236}">
                  <a16:creationId xmlns:a16="http://schemas.microsoft.com/office/drawing/2014/main" id="{1AE683DD-52FA-7D46-D131-45963D810175}"/>
                </a:ext>
              </a:extLst>
            </p:cNvPr>
            <p:cNvSpPr/>
            <p:nvPr/>
          </p:nvSpPr>
          <p:spPr>
            <a:xfrm>
              <a:off x="7537796" y="2277845"/>
              <a:ext cx="584626" cy="321700"/>
            </a:xfrm>
            <a:custGeom>
              <a:avLst/>
              <a:gdLst>
                <a:gd name="connsiteX0" fmla="*/ 1598516 w 2190918"/>
                <a:gd name="connsiteY0" fmla="*/ 126220 h 1205590"/>
                <a:gd name="connsiteX1" fmla="*/ 1951918 w 2190918"/>
                <a:gd name="connsiteY1" fmla="*/ 360354 h 1205590"/>
                <a:gd name="connsiteX2" fmla="*/ 2190919 w 2190918"/>
                <a:gd name="connsiteY2" fmla="*/ 798126 h 1205590"/>
                <a:gd name="connsiteX3" fmla="*/ 2190919 w 2190918"/>
                <a:gd name="connsiteY3" fmla="*/ 1097759 h 1205590"/>
                <a:gd name="connsiteX4" fmla="*/ 2083088 w 2190918"/>
                <a:gd name="connsiteY4" fmla="*/ 1205591 h 1205590"/>
                <a:gd name="connsiteX5" fmla="*/ 0 w 2190918"/>
                <a:gd name="connsiteY5" fmla="*/ 1205591 h 1205590"/>
                <a:gd name="connsiteX6" fmla="*/ 0 w 2190918"/>
                <a:gd name="connsiteY6" fmla="*/ 798126 h 1205590"/>
                <a:gd name="connsiteX7" fmla="*/ 239001 w 2190918"/>
                <a:gd name="connsiteY7" fmla="*/ 360354 h 1205590"/>
                <a:gd name="connsiteX8" fmla="*/ 592403 w 2190918"/>
                <a:gd name="connsiteY8" fmla="*/ 126220 h 1205590"/>
                <a:gd name="connsiteX9" fmla="*/ 792751 w 2190918"/>
                <a:gd name="connsiteY9" fmla="*/ 298 h 1205590"/>
                <a:gd name="connsiteX10" fmla="*/ 1137008 w 2190918"/>
                <a:gd name="connsiteY10" fmla="*/ 146060 h 1205590"/>
                <a:gd name="connsiteX11" fmla="*/ 1411373 w 2190918"/>
                <a:gd name="connsiteY11" fmla="*/ 298 h 1205590"/>
                <a:gd name="connsiteX12" fmla="*/ 1598516 w 2190918"/>
                <a:gd name="connsiteY12" fmla="*/ 126220 h 1205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90918" h="1205590">
                  <a:moveTo>
                    <a:pt x="1598516" y="126220"/>
                  </a:moveTo>
                  <a:lnTo>
                    <a:pt x="1951918" y="360354"/>
                  </a:lnTo>
                  <a:cubicBezTo>
                    <a:pt x="2101540" y="459478"/>
                    <a:pt x="2190919" y="623198"/>
                    <a:pt x="2190919" y="798126"/>
                  </a:cubicBezTo>
                  <a:lnTo>
                    <a:pt x="2190919" y="1097759"/>
                  </a:lnTo>
                  <a:cubicBezTo>
                    <a:pt x="2190919" y="1157317"/>
                    <a:pt x="2142636" y="1205591"/>
                    <a:pt x="2083088" y="1205591"/>
                  </a:cubicBezTo>
                  <a:lnTo>
                    <a:pt x="0" y="1205591"/>
                  </a:lnTo>
                  <a:lnTo>
                    <a:pt x="0" y="798126"/>
                  </a:lnTo>
                  <a:cubicBezTo>
                    <a:pt x="0" y="623198"/>
                    <a:pt x="89380" y="459478"/>
                    <a:pt x="239001" y="360354"/>
                  </a:cubicBezTo>
                  <a:lnTo>
                    <a:pt x="592403" y="126220"/>
                  </a:lnTo>
                  <a:lnTo>
                    <a:pt x="792751" y="298"/>
                  </a:lnTo>
                  <a:lnTo>
                    <a:pt x="1137008" y="146060"/>
                  </a:lnTo>
                  <a:cubicBezTo>
                    <a:pt x="1137008" y="146060"/>
                    <a:pt x="1401115" y="7713"/>
                    <a:pt x="1411373" y="298"/>
                  </a:cubicBezTo>
                  <a:cubicBezTo>
                    <a:pt x="1421630" y="-7117"/>
                    <a:pt x="1598516" y="126220"/>
                    <a:pt x="1598516" y="126220"/>
                  </a:cubicBezTo>
                  <a:close/>
                </a:path>
              </a:pathLst>
            </a:custGeom>
            <a:solidFill>
              <a:schemeClr val="accent1"/>
            </a:solidFill>
            <a:ln w="9506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46" name="Frihandsfigur: Form 445">
              <a:extLst>
                <a:ext uri="{FF2B5EF4-FFF2-40B4-BE49-F238E27FC236}">
                  <a16:creationId xmlns:a16="http://schemas.microsoft.com/office/drawing/2014/main" id="{CD8E8954-AF82-B3C1-FF25-50A2595FE1FF}"/>
                </a:ext>
              </a:extLst>
            </p:cNvPr>
            <p:cNvSpPr/>
            <p:nvPr/>
          </p:nvSpPr>
          <p:spPr>
            <a:xfrm>
              <a:off x="7817749" y="1750555"/>
              <a:ext cx="229750" cy="290110"/>
            </a:xfrm>
            <a:custGeom>
              <a:avLst/>
              <a:gdLst>
                <a:gd name="connsiteX0" fmla="*/ 510620 w 861002"/>
                <a:gd name="connsiteY0" fmla="*/ 47485 h 1087203"/>
                <a:gd name="connsiteX1" fmla="*/ 466510 w 861002"/>
                <a:gd name="connsiteY1" fmla="*/ 40925 h 1087203"/>
                <a:gd name="connsiteX2" fmla="*/ 46325 w 861002"/>
                <a:gd name="connsiteY2" fmla="*/ 0 h 1087203"/>
                <a:gd name="connsiteX3" fmla="*/ 1189 w 861002"/>
                <a:gd name="connsiteY3" fmla="*/ 905535 h 1087203"/>
                <a:gd name="connsiteX4" fmla="*/ 267635 w 861002"/>
                <a:gd name="connsiteY4" fmla="*/ 1087203 h 1087203"/>
                <a:gd name="connsiteX5" fmla="*/ 781078 w 861002"/>
                <a:gd name="connsiteY5" fmla="*/ 1087203 h 1087203"/>
                <a:gd name="connsiteX6" fmla="*/ 805224 w 861002"/>
                <a:gd name="connsiteY6" fmla="*/ 878727 h 1087203"/>
                <a:gd name="connsiteX7" fmla="*/ 856939 w 861002"/>
                <a:gd name="connsiteY7" fmla="*/ 511018 h 1087203"/>
                <a:gd name="connsiteX8" fmla="*/ 510620 w 861002"/>
                <a:gd name="connsiteY8" fmla="*/ 47485 h 1087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61002" h="1087203">
                  <a:moveTo>
                    <a:pt x="510620" y="47485"/>
                  </a:moveTo>
                  <a:lnTo>
                    <a:pt x="466510" y="40925"/>
                  </a:lnTo>
                  <a:lnTo>
                    <a:pt x="46325" y="0"/>
                  </a:lnTo>
                  <a:cubicBezTo>
                    <a:pt x="46325" y="0"/>
                    <a:pt x="-8698" y="905535"/>
                    <a:pt x="1189" y="905535"/>
                  </a:cubicBezTo>
                  <a:cubicBezTo>
                    <a:pt x="11076" y="905535"/>
                    <a:pt x="267635" y="1087203"/>
                    <a:pt x="267635" y="1087203"/>
                  </a:cubicBezTo>
                  <a:lnTo>
                    <a:pt x="781078" y="1087203"/>
                  </a:lnTo>
                  <a:lnTo>
                    <a:pt x="805224" y="878727"/>
                  </a:lnTo>
                  <a:lnTo>
                    <a:pt x="856939" y="511018"/>
                  </a:lnTo>
                  <a:cubicBezTo>
                    <a:pt x="888405" y="287627"/>
                    <a:pt x="733736" y="80672"/>
                    <a:pt x="510620" y="47485"/>
                  </a:cubicBezTo>
                  <a:close/>
                </a:path>
              </a:pathLst>
            </a:custGeom>
            <a:solidFill>
              <a:srgbClr val="CFCFCF"/>
            </a:solidFill>
            <a:ln w="9506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47" name="Frihandsfigur: Form 446">
              <a:extLst>
                <a:ext uri="{FF2B5EF4-FFF2-40B4-BE49-F238E27FC236}">
                  <a16:creationId xmlns:a16="http://schemas.microsoft.com/office/drawing/2014/main" id="{714C775C-94FE-B22C-0945-3B0F7D021CF8}"/>
                </a:ext>
              </a:extLst>
            </p:cNvPr>
            <p:cNvSpPr/>
            <p:nvPr/>
          </p:nvSpPr>
          <p:spPr>
            <a:xfrm>
              <a:off x="7817746" y="1750555"/>
              <a:ext cx="180584" cy="290110"/>
            </a:xfrm>
            <a:custGeom>
              <a:avLst/>
              <a:gdLst>
                <a:gd name="connsiteX0" fmla="*/ 641057 w 676748"/>
                <a:gd name="connsiteY0" fmla="*/ 528947 h 1087203"/>
                <a:gd name="connsiteX1" fmla="*/ 642455 w 676748"/>
                <a:gd name="connsiteY1" fmla="*/ 524603 h 1087203"/>
                <a:gd name="connsiteX2" fmla="*/ 642008 w 676748"/>
                <a:gd name="connsiteY2" fmla="*/ 90435 h 1087203"/>
                <a:gd name="connsiteX3" fmla="*/ 510620 w 676748"/>
                <a:gd name="connsiteY3" fmla="*/ 47485 h 1087203"/>
                <a:gd name="connsiteX4" fmla="*/ 466510 w 676748"/>
                <a:gd name="connsiteY4" fmla="*/ 40925 h 1087203"/>
                <a:gd name="connsiteX5" fmla="*/ 46326 w 676748"/>
                <a:gd name="connsiteY5" fmla="*/ 0 h 1087203"/>
                <a:gd name="connsiteX6" fmla="*/ 1189 w 676748"/>
                <a:gd name="connsiteY6" fmla="*/ 905535 h 1087203"/>
                <a:gd name="connsiteX7" fmla="*/ 267635 w 676748"/>
                <a:gd name="connsiteY7" fmla="*/ 1087203 h 1087203"/>
                <a:gd name="connsiteX8" fmla="*/ 420917 w 676748"/>
                <a:gd name="connsiteY8" fmla="*/ 1087203 h 1087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76748" h="1087203">
                  <a:moveTo>
                    <a:pt x="641057" y="528947"/>
                  </a:moveTo>
                  <a:lnTo>
                    <a:pt x="642455" y="524603"/>
                  </a:lnTo>
                  <a:cubicBezTo>
                    <a:pt x="688713" y="380999"/>
                    <a:pt x="687791" y="230531"/>
                    <a:pt x="642008" y="90435"/>
                  </a:cubicBezTo>
                  <a:cubicBezTo>
                    <a:pt x="601967" y="69264"/>
                    <a:pt x="557933" y="54519"/>
                    <a:pt x="510620" y="47485"/>
                  </a:cubicBezTo>
                  <a:lnTo>
                    <a:pt x="466510" y="40925"/>
                  </a:lnTo>
                  <a:lnTo>
                    <a:pt x="46326" y="0"/>
                  </a:lnTo>
                  <a:cubicBezTo>
                    <a:pt x="46326" y="0"/>
                    <a:pt x="-8698" y="905535"/>
                    <a:pt x="1189" y="905535"/>
                  </a:cubicBezTo>
                  <a:cubicBezTo>
                    <a:pt x="11076" y="905535"/>
                    <a:pt x="267635" y="1087203"/>
                    <a:pt x="267635" y="1087203"/>
                  </a:cubicBezTo>
                  <a:lnTo>
                    <a:pt x="420917" y="1087203"/>
                  </a:lnTo>
                  <a:close/>
                </a:path>
              </a:pathLst>
            </a:custGeom>
            <a:solidFill>
              <a:srgbClr val="CFCFCF"/>
            </a:solidFill>
            <a:ln w="9506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48" name="Frihandsfigur: Form 447">
              <a:extLst>
                <a:ext uri="{FF2B5EF4-FFF2-40B4-BE49-F238E27FC236}">
                  <a16:creationId xmlns:a16="http://schemas.microsoft.com/office/drawing/2014/main" id="{67CDBB74-13B3-23E3-E11A-F18ABBBAB4F3}"/>
                </a:ext>
              </a:extLst>
            </p:cNvPr>
            <p:cNvSpPr/>
            <p:nvPr/>
          </p:nvSpPr>
          <p:spPr>
            <a:xfrm>
              <a:off x="7613197" y="1679961"/>
              <a:ext cx="347053" cy="360706"/>
            </a:xfrm>
            <a:custGeom>
              <a:avLst/>
              <a:gdLst>
                <a:gd name="connsiteX0" fmla="*/ 1233080 w 1300599"/>
                <a:gd name="connsiteY0" fmla="*/ 305488 h 1351765"/>
                <a:gd name="connsiteX1" fmla="*/ 1273292 w 1300599"/>
                <a:gd name="connsiteY1" fmla="*/ 745445 h 1351765"/>
                <a:gd name="connsiteX2" fmla="*/ 1034205 w 1300599"/>
                <a:gd name="connsiteY2" fmla="*/ 1351766 h 1351765"/>
                <a:gd name="connsiteX3" fmla="*/ 149536 w 1300599"/>
                <a:gd name="connsiteY3" fmla="*/ 1351766 h 1351765"/>
                <a:gd name="connsiteX4" fmla="*/ 67781 w 1300599"/>
                <a:gd name="connsiteY4" fmla="*/ 1126178 h 1351765"/>
                <a:gd name="connsiteX5" fmla="*/ 0 w 1300599"/>
                <a:gd name="connsiteY5" fmla="*/ 783946 h 1351765"/>
                <a:gd name="connsiteX6" fmla="*/ 135277 w 1300599"/>
                <a:gd name="connsiteY6" fmla="*/ 309956 h 1351765"/>
                <a:gd name="connsiteX7" fmla="*/ 871740 w 1300599"/>
                <a:gd name="connsiteY7" fmla="*/ 24953 h 1351765"/>
                <a:gd name="connsiteX8" fmla="*/ 890373 w 1300599"/>
                <a:gd name="connsiteY8" fmla="*/ 30276 h 1351765"/>
                <a:gd name="connsiteX9" fmla="*/ 1233080 w 1300599"/>
                <a:gd name="connsiteY9" fmla="*/ 305488 h 1351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00599" h="1351765">
                  <a:moveTo>
                    <a:pt x="1233080" y="305488"/>
                  </a:moveTo>
                  <a:cubicBezTo>
                    <a:pt x="1303142" y="435631"/>
                    <a:pt x="1322345" y="593152"/>
                    <a:pt x="1273292" y="745445"/>
                  </a:cubicBezTo>
                  <a:lnTo>
                    <a:pt x="1034205" y="1351766"/>
                  </a:lnTo>
                  <a:lnTo>
                    <a:pt x="149536" y="1351766"/>
                  </a:lnTo>
                  <a:lnTo>
                    <a:pt x="67781" y="1126178"/>
                  </a:lnTo>
                  <a:cubicBezTo>
                    <a:pt x="22435" y="1016094"/>
                    <a:pt x="0" y="899830"/>
                    <a:pt x="0" y="783946"/>
                  </a:cubicBezTo>
                  <a:cubicBezTo>
                    <a:pt x="0" y="618629"/>
                    <a:pt x="45631" y="454168"/>
                    <a:pt x="135277" y="309956"/>
                  </a:cubicBezTo>
                  <a:cubicBezTo>
                    <a:pt x="289756" y="61362"/>
                    <a:pt x="590159" y="-54901"/>
                    <a:pt x="871740" y="24953"/>
                  </a:cubicBezTo>
                  <a:lnTo>
                    <a:pt x="890373" y="30276"/>
                  </a:lnTo>
                  <a:cubicBezTo>
                    <a:pt x="1043521" y="73626"/>
                    <a:pt x="1163397" y="176010"/>
                    <a:pt x="1233080" y="305488"/>
                  </a:cubicBezTo>
                  <a:close/>
                </a:path>
              </a:pathLst>
            </a:custGeom>
            <a:solidFill>
              <a:srgbClr val="CFCFCF"/>
            </a:solidFill>
            <a:ln w="9506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49" name="Frihandsfigur: Form 448">
              <a:extLst>
                <a:ext uri="{FF2B5EF4-FFF2-40B4-BE49-F238E27FC236}">
                  <a16:creationId xmlns:a16="http://schemas.microsoft.com/office/drawing/2014/main" id="{6016485D-93A2-DEDD-5AF9-A07B99F93026}"/>
                </a:ext>
              </a:extLst>
            </p:cNvPr>
            <p:cNvSpPr/>
            <p:nvPr/>
          </p:nvSpPr>
          <p:spPr>
            <a:xfrm>
              <a:off x="7898815" y="1980466"/>
              <a:ext cx="148202" cy="93520"/>
            </a:xfrm>
            <a:custGeom>
              <a:avLst/>
              <a:gdLst>
                <a:gd name="connsiteX0" fmla="*/ 380162 w 555394"/>
                <a:gd name="connsiteY0" fmla="*/ 350464 h 350473"/>
                <a:gd name="connsiteX1" fmla="*/ 555394 w 555394"/>
                <a:gd name="connsiteY1" fmla="*/ 175232 h 350473"/>
                <a:gd name="connsiteX2" fmla="*/ 380162 w 555394"/>
                <a:gd name="connsiteY2" fmla="*/ 0 h 350473"/>
                <a:gd name="connsiteX3" fmla="*/ 0 w 555394"/>
                <a:gd name="connsiteY3" fmla="*/ 0 h 350473"/>
                <a:gd name="connsiteX4" fmla="*/ 0 w 555394"/>
                <a:gd name="connsiteY4" fmla="*/ 350474 h 350473"/>
                <a:gd name="connsiteX5" fmla="*/ 380162 w 555394"/>
                <a:gd name="connsiteY5" fmla="*/ 350474 h 350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55394" h="350473">
                  <a:moveTo>
                    <a:pt x="380162" y="350464"/>
                  </a:moveTo>
                  <a:cubicBezTo>
                    <a:pt x="476938" y="350464"/>
                    <a:pt x="555394" y="272008"/>
                    <a:pt x="555394" y="175232"/>
                  </a:cubicBezTo>
                  <a:cubicBezTo>
                    <a:pt x="555394" y="78457"/>
                    <a:pt x="476938" y="0"/>
                    <a:pt x="380162" y="0"/>
                  </a:cubicBezTo>
                  <a:lnTo>
                    <a:pt x="0" y="0"/>
                  </a:lnTo>
                  <a:lnTo>
                    <a:pt x="0" y="350474"/>
                  </a:lnTo>
                  <a:lnTo>
                    <a:pt x="380162" y="350474"/>
                  </a:lnTo>
                  <a:close/>
                </a:path>
              </a:pathLst>
            </a:custGeom>
            <a:solidFill>
              <a:srgbClr val="F4F4F4"/>
            </a:solidFill>
            <a:ln w="9506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50" name="Frihandsfigur: Form 449">
              <a:extLst>
                <a:ext uri="{FF2B5EF4-FFF2-40B4-BE49-F238E27FC236}">
                  <a16:creationId xmlns:a16="http://schemas.microsoft.com/office/drawing/2014/main" id="{D0518ECE-83FD-F6D6-39E2-C3440C688F6E}"/>
                </a:ext>
              </a:extLst>
            </p:cNvPr>
            <p:cNvSpPr/>
            <p:nvPr/>
          </p:nvSpPr>
          <p:spPr>
            <a:xfrm>
              <a:off x="7613205" y="1980466"/>
              <a:ext cx="148202" cy="93520"/>
            </a:xfrm>
            <a:custGeom>
              <a:avLst/>
              <a:gdLst>
                <a:gd name="connsiteX0" fmla="*/ 175232 w 555394"/>
                <a:gd name="connsiteY0" fmla="*/ 350464 h 350473"/>
                <a:gd name="connsiteX1" fmla="*/ 0 w 555394"/>
                <a:gd name="connsiteY1" fmla="*/ 175232 h 350473"/>
                <a:gd name="connsiteX2" fmla="*/ 175232 w 555394"/>
                <a:gd name="connsiteY2" fmla="*/ 0 h 350473"/>
                <a:gd name="connsiteX3" fmla="*/ 555394 w 555394"/>
                <a:gd name="connsiteY3" fmla="*/ 0 h 350473"/>
                <a:gd name="connsiteX4" fmla="*/ 555394 w 555394"/>
                <a:gd name="connsiteY4" fmla="*/ 350474 h 350473"/>
                <a:gd name="connsiteX5" fmla="*/ 175232 w 555394"/>
                <a:gd name="connsiteY5" fmla="*/ 350474 h 350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55394" h="350473">
                  <a:moveTo>
                    <a:pt x="175232" y="350464"/>
                  </a:moveTo>
                  <a:cubicBezTo>
                    <a:pt x="78457" y="350464"/>
                    <a:pt x="0" y="272008"/>
                    <a:pt x="0" y="175232"/>
                  </a:cubicBezTo>
                  <a:cubicBezTo>
                    <a:pt x="0" y="78457"/>
                    <a:pt x="78457" y="0"/>
                    <a:pt x="175232" y="0"/>
                  </a:cubicBezTo>
                  <a:lnTo>
                    <a:pt x="555394" y="0"/>
                  </a:lnTo>
                  <a:lnTo>
                    <a:pt x="555394" y="350474"/>
                  </a:lnTo>
                  <a:lnTo>
                    <a:pt x="175232" y="350474"/>
                  </a:lnTo>
                  <a:close/>
                </a:path>
              </a:pathLst>
            </a:custGeom>
            <a:solidFill>
              <a:srgbClr val="F4F4F4"/>
            </a:solidFill>
            <a:ln w="9506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51" name="Frihandsfigur: Form 450">
              <a:extLst>
                <a:ext uri="{FF2B5EF4-FFF2-40B4-BE49-F238E27FC236}">
                  <a16:creationId xmlns:a16="http://schemas.microsoft.com/office/drawing/2014/main" id="{69CC8ACB-2EAD-0720-93E3-80170ABCFC4B}"/>
                </a:ext>
              </a:extLst>
            </p:cNvPr>
            <p:cNvSpPr/>
            <p:nvPr/>
          </p:nvSpPr>
          <p:spPr>
            <a:xfrm>
              <a:off x="7244175" y="1977797"/>
              <a:ext cx="319398" cy="255253"/>
            </a:xfrm>
            <a:custGeom>
              <a:avLst/>
              <a:gdLst>
                <a:gd name="connsiteX0" fmla="*/ 1179570 w 1196962"/>
                <a:gd name="connsiteY0" fmla="*/ 775145 h 956574"/>
                <a:gd name="connsiteX1" fmla="*/ 1195066 w 1196962"/>
                <a:gd name="connsiteY1" fmla="*/ 591766 h 956574"/>
                <a:gd name="connsiteX2" fmla="*/ 438392 w 1196962"/>
                <a:gd name="connsiteY2" fmla="*/ 43454 h 956574"/>
                <a:gd name="connsiteX3" fmla="*/ 290053 w 1196962"/>
                <a:gd name="connsiteY3" fmla="*/ 105825 h 956574"/>
                <a:gd name="connsiteX4" fmla="*/ 3549 w 1196962"/>
                <a:gd name="connsiteY4" fmla="*/ 510971 h 956574"/>
                <a:gd name="connsiteX5" fmla="*/ 40348 w 1196962"/>
                <a:gd name="connsiteY5" fmla="*/ 773329 h 956574"/>
                <a:gd name="connsiteX6" fmla="*/ 76054 w 1196962"/>
                <a:gd name="connsiteY6" fmla="*/ 951546 h 956574"/>
                <a:gd name="connsiteX7" fmla="*/ 1151146 w 1196962"/>
                <a:gd name="connsiteY7" fmla="*/ 951546 h 956574"/>
                <a:gd name="connsiteX8" fmla="*/ 1179570 w 1196962"/>
                <a:gd name="connsiteY8" fmla="*/ 775145 h 956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96962" h="956574">
                  <a:moveTo>
                    <a:pt x="1179570" y="775145"/>
                  </a:moveTo>
                  <a:lnTo>
                    <a:pt x="1195066" y="591766"/>
                  </a:lnTo>
                  <a:cubicBezTo>
                    <a:pt x="1228395" y="183008"/>
                    <a:pt x="816444" y="-115503"/>
                    <a:pt x="438392" y="43454"/>
                  </a:cubicBezTo>
                  <a:lnTo>
                    <a:pt x="290053" y="105825"/>
                  </a:lnTo>
                  <a:cubicBezTo>
                    <a:pt x="102482" y="143927"/>
                    <a:pt x="-23041" y="321422"/>
                    <a:pt x="3549" y="510971"/>
                  </a:cubicBezTo>
                  <a:lnTo>
                    <a:pt x="40348" y="773329"/>
                  </a:lnTo>
                  <a:lnTo>
                    <a:pt x="76054" y="951546"/>
                  </a:lnTo>
                  <a:cubicBezTo>
                    <a:pt x="76054" y="951546"/>
                    <a:pt x="1151146" y="962859"/>
                    <a:pt x="1151146" y="951546"/>
                  </a:cubicBezTo>
                  <a:cubicBezTo>
                    <a:pt x="1151146" y="940234"/>
                    <a:pt x="1179570" y="775145"/>
                    <a:pt x="1179570" y="775145"/>
                  </a:cubicBezTo>
                  <a:close/>
                </a:path>
              </a:pathLst>
            </a:custGeom>
            <a:solidFill>
              <a:srgbClr val="CFCFCF"/>
            </a:solidFill>
            <a:ln w="9506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52" name="Frihandsfigur: Form 451">
              <a:extLst>
                <a:ext uri="{FF2B5EF4-FFF2-40B4-BE49-F238E27FC236}">
                  <a16:creationId xmlns:a16="http://schemas.microsoft.com/office/drawing/2014/main" id="{F7FF282E-C79E-8C92-1929-364F01AE831A}"/>
                </a:ext>
              </a:extLst>
            </p:cNvPr>
            <p:cNvSpPr/>
            <p:nvPr/>
          </p:nvSpPr>
          <p:spPr>
            <a:xfrm>
              <a:off x="7199022" y="2377843"/>
              <a:ext cx="275808" cy="221700"/>
            </a:xfrm>
            <a:custGeom>
              <a:avLst/>
              <a:gdLst>
                <a:gd name="connsiteX0" fmla="*/ 940643 w 1033605"/>
                <a:gd name="connsiteY0" fmla="*/ 36315 h 830833"/>
                <a:gd name="connsiteX1" fmla="*/ 823115 w 1033605"/>
                <a:gd name="connsiteY1" fmla="*/ 0 h 830833"/>
                <a:gd name="connsiteX2" fmla="*/ 689150 w 1033605"/>
                <a:gd name="connsiteY2" fmla="*/ 0 h 830833"/>
                <a:gd name="connsiteX3" fmla="*/ 622957 w 1033605"/>
                <a:gd name="connsiteY3" fmla="*/ 25458 h 830833"/>
                <a:gd name="connsiteX4" fmla="*/ 594751 w 1033605"/>
                <a:gd name="connsiteY4" fmla="*/ 36315 h 830833"/>
                <a:gd name="connsiteX5" fmla="*/ 336138 w 1033605"/>
                <a:gd name="connsiteY5" fmla="*/ 127909 h 830833"/>
                <a:gd name="connsiteX6" fmla="*/ 0 w 1033605"/>
                <a:gd name="connsiteY6" fmla="*/ 603563 h 830833"/>
                <a:gd name="connsiteX7" fmla="*/ 0 w 1033605"/>
                <a:gd name="connsiteY7" fmla="*/ 767844 h 830833"/>
                <a:gd name="connsiteX8" fmla="*/ 62990 w 1033605"/>
                <a:gd name="connsiteY8" fmla="*/ 830834 h 830833"/>
                <a:gd name="connsiteX9" fmla="*/ 181535 w 1033605"/>
                <a:gd name="connsiteY9" fmla="*/ 830834 h 830833"/>
                <a:gd name="connsiteX10" fmla="*/ 181535 w 1033605"/>
                <a:gd name="connsiteY10" fmla="*/ 668179 h 830833"/>
                <a:gd name="connsiteX11" fmla="*/ 517644 w 1033605"/>
                <a:gd name="connsiteY11" fmla="*/ 192534 h 830833"/>
                <a:gd name="connsiteX12" fmla="*/ 518348 w 1033605"/>
                <a:gd name="connsiteY12" fmla="*/ 192287 h 830833"/>
                <a:gd name="connsiteX13" fmla="*/ 559168 w 1033605"/>
                <a:gd name="connsiteY13" fmla="*/ 204369 h 830833"/>
                <a:gd name="connsiteX14" fmla="*/ 767692 w 1033605"/>
                <a:gd name="connsiteY14" fmla="*/ 304311 h 830833"/>
                <a:gd name="connsiteX15" fmla="*/ 1033606 w 1033605"/>
                <a:gd name="connsiteY15" fmla="*/ 69236 h 830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33604" h="830833">
                  <a:moveTo>
                    <a:pt x="940643" y="36315"/>
                  </a:moveTo>
                  <a:lnTo>
                    <a:pt x="823115" y="0"/>
                  </a:lnTo>
                  <a:lnTo>
                    <a:pt x="689150" y="0"/>
                  </a:lnTo>
                  <a:lnTo>
                    <a:pt x="622957" y="25458"/>
                  </a:lnTo>
                  <a:lnTo>
                    <a:pt x="594751" y="36315"/>
                  </a:lnTo>
                  <a:lnTo>
                    <a:pt x="336138" y="127909"/>
                  </a:lnTo>
                  <a:cubicBezTo>
                    <a:pt x="134659" y="199274"/>
                    <a:pt x="0" y="389830"/>
                    <a:pt x="0" y="603563"/>
                  </a:cubicBezTo>
                  <a:lnTo>
                    <a:pt x="0" y="767844"/>
                  </a:lnTo>
                  <a:cubicBezTo>
                    <a:pt x="0" y="802638"/>
                    <a:pt x="28206" y="830834"/>
                    <a:pt x="62990" y="830834"/>
                  </a:cubicBezTo>
                  <a:lnTo>
                    <a:pt x="181535" y="830834"/>
                  </a:lnTo>
                  <a:lnTo>
                    <a:pt x="181535" y="668179"/>
                  </a:lnTo>
                  <a:cubicBezTo>
                    <a:pt x="181535" y="454455"/>
                    <a:pt x="316184" y="263908"/>
                    <a:pt x="517644" y="192534"/>
                  </a:cubicBezTo>
                  <a:lnTo>
                    <a:pt x="518348" y="192287"/>
                  </a:lnTo>
                  <a:cubicBezTo>
                    <a:pt x="533130" y="187049"/>
                    <a:pt x="549310" y="192163"/>
                    <a:pt x="559168" y="204369"/>
                  </a:cubicBezTo>
                  <a:cubicBezTo>
                    <a:pt x="608317" y="265277"/>
                    <a:pt x="683513" y="304311"/>
                    <a:pt x="767692" y="304311"/>
                  </a:cubicBezTo>
                  <a:cubicBezTo>
                    <a:pt x="904318" y="304311"/>
                    <a:pt x="1017312" y="201527"/>
                    <a:pt x="1033606" y="69236"/>
                  </a:cubicBezTo>
                  <a:close/>
                </a:path>
              </a:pathLst>
            </a:custGeom>
            <a:solidFill>
              <a:srgbClr val="000000">
                <a:alpha val="25098"/>
              </a:srgbClr>
            </a:solidFill>
            <a:ln w="9506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53" name="Frihandsfigur: Form 452">
              <a:extLst>
                <a:ext uri="{FF2B5EF4-FFF2-40B4-BE49-F238E27FC236}">
                  <a16:creationId xmlns:a16="http://schemas.microsoft.com/office/drawing/2014/main" id="{7B213574-708D-5880-A483-D3EE7FD37E61}"/>
                </a:ext>
              </a:extLst>
            </p:cNvPr>
            <p:cNvSpPr/>
            <p:nvPr/>
          </p:nvSpPr>
          <p:spPr>
            <a:xfrm>
              <a:off x="7357728" y="2259516"/>
              <a:ext cx="92298" cy="174165"/>
            </a:xfrm>
            <a:custGeom>
              <a:avLst/>
              <a:gdLst>
                <a:gd name="connsiteX0" fmla="*/ 345882 w 345891"/>
                <a:gd name="connsiteY0" fmla="*/ 479752 h 652692"/>
                <a:gd name="connsiteX1" fmla="*/ 172941 w 345891"/>
                <a:gd name="connsiteY1" fmla="*/ 652693 h 652692"/>
                <a:gd name="connsiteX2" fmla="*/ 0 w 345891"/>
                <a:gd name="connsiteY2" fmla="*/ 479752 h 652692"/>
                <a:gd name="connsiteX3" fmla="*/ 0 w 345891"/>
                <a:gd name="connsiteY3" fmla="*/ 0 h 652692"/>
                <a:gd name="connsiteX4" fmla="*/ 345892 w 345891"/>
                <a:gd name="connsiteY4" fmla="*/ 0 h 652692"/>
                <a:gd name="connsiteX5" fmla="*/ 345892 w 345891"/>
                <a:gd name="connsiteY5" fmla="*/ 479752 h 652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5891" h="652692">
                  <a:moveTo>
                    <a:pt x="345882" y="479752"/>
                  </a:moveTo>
                  <a:cubicBezTo>
                    <a:pt x="345882" y="575263"/>
                    <a:pt x="268452" y="652693"/>
                    <a:pt x="172941" y="652693"/>
                  </a:cubicBezTo>
                  <a:cubicBezTo>
                    <a:pt x="77430" y="652693"/>
                    <a:pt x="0" y="575263"/>
                    <a:pt x="0" y="479752"/>
                  </a:cubicBezTo>
                  <a:lnTo>
                    <a:pt x="0" y="0"/>
                  </a:lnTo>
                  <a:lnTo>
                    <a:pt x="345892" y="0"/>
                  </a:lnTo>
                  <a:lnTo>
                    <a:pt x="345892" y="479752"/>
                  </a:lnTo>
                  <a:close/>
                </a:path>
              </a:pathLst>
            </a:custGeom>
            <a:solidFill>
              <a:srgbClr val="F4F4F4"/>
            </a:solidFill>
            <a:ln w="9506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54" name="Frihandsfigur: Form 453">
              <a:extLst>
                <a:ext uri="{FF2B5EF4-FFF2-40B4-BE49-F238E27FC236}">
                  <a16:creationId xmlns:a16="http://schemas.microsoft.com/office/drawing/2014/main" id="{1A597CBF-EB61-AE44-28C1-9EF3F28971D0}"/>
                </a:ext>
              </a:extLst>
            </p:cNvPr>
            <p:cNvSpPr/>
            <p:nvPr/>
          </p:nvSpPr>
          <p:spPr>
            <a:xfrm>
              <a:off x="7441313" y="2175236"/>
              <a:ext cx="132829" cy="83521"/>
            </a:xfrm>
            <a:custGeom>
              <a:avLst/>
              <a:gdLst>
                <a:gd name="connsiteX0" fmla="*/ 342222 w 497785"/>
                <a:gd name="connsiteY0" fmla="*/ 311127 h 312999"/>
                <a:gd name="connsiteX1" fmla="*/ 497785 w 497785"/>
                <a:gd name="connsiteY1" fmla="*/ 155563 h 312999"/>
                <a:gd name="connsiteX2" fmla="*/ 342222 w 497785"/>
                <a:gd name="connsiteY2" fmla="*/ 0 h 312999"/>
                <a:gd name="connsiteX3" fmla="*/ 0 w 497785"/>
                <a:gd name="connsiteY3" fmla="*/ 0 h 312999"/>
                <a:gd name="connsiteX4" fmla="*/ 0 w 497785"/>
                <a:gd name="connsiteY4" fmla="*/ 312999 h 312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7785" h="312999">
                  <a:moveTo>
                    <a:pt x="342222" y="311127"/>
                  </a:moveTo>
                  <a:cubicBezTo>
                    <a:pt x="428141" y="311127"/>
                    <a:pt x="497785" y="241482"/>
                    <a:pt x="497785" y="155563"/>
                  </a:cubicBezTo>
                  <a:cubicBezTo>
                    <a:pt x="497785" y="69644"/>
                    <a:pt x="428141" y="0"/>
                    <a:pt x="342222" y="0"/>
                  </a:cubicBezTo>
                  <a:lnTo>
                    <a:pt x="0" y="0"/>
                  </a:lnTo>
                  <a:lnTo>
                    <a:pt x="0" y="312999"/>
                  </a:lnTo>
                  <a:close/>
                </a:path>
              </a:pathLst>
            </a:custGeom>
            <a:solidFill>
              <a:srgbClr val="F4F4F4"/>
            </a:solidFill>
            <a:ln w="9506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55" name="Frihandsfigur: Form 454">
              <a:extLst>
                <a:ext uri="{FF2B5EF4-FFF2-40B4-BE49-F238E27FC236}">
                  <a16:creationId xmlns:a16="http://schemas.microsoft.com/office/drawing/2014/main" id="{48E755AA-9EF4-53D6-DFDA-5070E773EC38}"/>
                </a:ext>
              </a:extLst>
            </p:cNvPr>
            <p:cNvSpPr/>
            <p:nvPr/>
          </p:nvSpPr>
          <p:spPr>
            <a:xfrm>
              <a:off x="7239082" y="2175236"/>
              <a:ext cx="126170" cy="83021"/>
            </a:xfrm>
            <a:custGeom>
              <a:avLst/>
              <a:gdLst>
                <a:gd name="connsiteX0" fmla="*/ 155563 w 472830"/>
                <a:gd name="connsiteY0" fmla="*/ 311127 h 311126"/>
                <a:gd name="connsiteX1" fmla="*/ 0 w 472830"/>
                <a:gd name="connsiteY1" fmla="*/ 155563 h 311126"/>
                <a:gd name="connsiteX2" fmla="*/ 155563 w 472830"/>
                <a:gd name="connsiteY2" fmla="*/ 0 h 311126"/>
                <a:gd name="connsiteX3" fmla="*/ 472831 w 472830"/>
                <a:gd name="connsiteY3" fmla="*/ 0 h 311126"/>
                <a:gd name="connsiteX4" fmla="*/ 472831 w 472830"/>
                <a:gd name="connsiteY4" fmla="*/ 311127 h 311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2830" h="311126">
                  <a:moveTo>
                    <a:pt x="155563" y="311127"/>
                  </a:moveTo>
                  <a:cubicBezTo>
                    <a:pt x="69644" y="311127"/>
                    <a:pt x="0" y="241482"/>
                    <a:pt x="0" y="155563"/>
                  </a:cubicBezTo>
                  <a:cubicBezTo>
                    <a:pt x="0" y="69644"/>
                    <a:pt x="69644" y="0"/>
                    <a:pt x="155563" y="0"/>
                  </a:cubicBezTo>
                  <a:lnTo>
                    <a:pt x="472831" y="0"/>
                  </a:lnTo>
                  <a:lnTo>
                    <a:pt x="472831" y="311127"/>
                  </a:lnTo>
                  <a:close/>
                </a:path>
              </a:pathLst>
            </a:custGeom>
            <a:solidFill>
              <a:srgbClr val="F4F4F4"/>
            </a:solidFill>
            <a:ln w="9506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56" name="Frihandsfigur: Form 455">
              <a:extLst>
                <a:ext uri="{FF2B5EF4-FFF2-40B4-BE49-F238E27FC236}">
                  <a16:creationId xmlns:a16="http://schemas.microsoft.com/office/drawing/2014/main" id="{24EEE912-E2ED-B00E-EBE7-B4784F34D948}"/>
                </a:ext>
              </a:extLst>
            </p:cNvPr>
            <p:cNvSpPr/>
            <p:nvPr/>
          </p:nvSpPr>
          <p:spPr>
            <a:xfrm>
              <a:off x="7678748" y="1840726"/>
              <a:ext cx="302727" cy="376021"/>
            </a:xfrm>
            <a:custGeom>
              <a:avLst/>
              <a:gdLst>
                <a:gd name="connsiteX0" fmla="*/ 567239 w 1134488"/>
                <a:gd name="connsiteY0" fmla="*/ 1409160 h 1409159"/>
                <a:gd name="connsiteX1" fmla="*/ 1134488 w 1134488"/>
                <a:gd name="connsiteY1" fmla="*/ 841911 h 1409159"/>
                <a:gd name="connsiteX2" fmla="*/ 1134488 w 1134488"/>
                <a:gd name="connsiteY2" fmla="*/ 446624 h 1409159"/>
                <a:gd name="connsiteX3" fmla="*/ 965606 w 1134488"/>
                <a:gd name="connsiteY3" fmla="*/ 78754 h 1409159"/>
                <a:gd name="connsiteX4" fmla="*/ 887853 w 1134488"/>
                <a:gd name="connsiteY4" fmla="*/ 11923 h 1409159"/>
                <a:gd name="connsiteX5" fmla="*/ 824693 w 1134488"/>
                <a:gd name="connsiteY5" fmla="*/ 10954 h 1409159"/>
                <a:gd name="connsiteX6" fmla="*/ 741702 w 1134488"/>
                <a:gd name="connsiteY6" fmla="*/ 77984 h 1409159"/>
                <a:gd name="connsiteX7" fmla="*/ 354599 w 1134488"/>
                <a:gd name="connsiteY7" fmla="*/ 77984 h 1409159"/>
                <a:gd name="connsiteX8" fmla="*/ 0 w 1134488"/>
                <a:gd name="connsiteY8" fmla="*/ 432583 h 1409159"/>
                <a:gd name="connsiteX9" fmla="*/ 0 w 1134488"/>
                <a:gd name="connsiteY9" fmla="*/ 841911 h 1409159"/>
                <a:gd name="connsiteX10" fmla="*/ 567239 w 1134488"/>
                <a:gd name="connsiteY10" fmla="*/ 1409160 h 1409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34488" h="1409159">
                  <a:moveTo>
                    <a:pt x="567239" y="1409160"/>
                  </a:moveTo>
                  <a:cubicBezTo>
                    <a:pt x="880524" y="1409160"/>
                    <a:pt x="1134488" y="1155195"/>
                    <a:pt x="1134488" y="841911"/>
                  </a:cubicBezTo>
                  <a:lnTo>
                    <a:pt x="1134488" y="446624"/>
                  </a:lnTo>
                  <a:cubicBezTo>
                    <a:pt x="1134488" y="305254"/>
                    <a:pt x="1072810" y="170909"/>
                    <a:pt x="965606" y="78754"/>
                  </a:cubicBezTo>
                  <a:lnTo>
                    <a:pt x="887853" y="11923"/>
                  </a:lnTo>
                  <a:cubicBezTo>
                    <a:pt x="869791" y="-3601"/>
                    <a:pt x="843221" y="-4009"/>
                    <a:pt x="824693" y="10954"/>
                  </a:cubicBezTo>
                  <a:lnTo>
                    <a:pt x="741702" y="77984"/>
                  </a:lnTo>
                  <a:lnTo>
                    <a:pt x="354599" y="77984"/>
                  </a:lnTo>
                  <a:cubicBezTo>
                    <a:pt x="158757" y="77984"/>
                    <a:pt x="0" y="236741"/>
                    <a:pt x="0" y="432583"/>
                  </a:cubicBezTo>
                  <a:lnTo>
                    <a:pt x="0" y="841911"/>
                  </a:lnTo>
                  <a:cubicBezTo>
                    <a:pt x="-9" y="1155195"/>
                    <a:pt x="253955" y="1409160"/>
                    <a:pt x="567239" y="1409160"/>
                  </a:cubicBezTo>
                  <a:close/>
                </a:path>
              </a:pathLst>
            </a:custGeom>
            <a:solidFill>
              <a:srgbClr val="F4F4F4"/>
            </a:solidFill>
            <a:ln w="9506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57" name="Frihandsfigur: Form 456">
              <a:extLst>
                <a:ext uri="{FF2B5EF4-FFF2-40B4-BE49-F238E27FC236}">
                  <a16:creationId xmlns:a16="http://schemas.microsoft.com/office/drawing/2014/main" id="{8337D3EE-384B-F626-C7AC-D152C61DB1C7}"/>
                </a:ext>
              </a:extLst>
            </p:cNvPr>
            <p:cNvSpPr/>
            <p:nvPr/>
          </p:nvSpPr>
          <p:spPr>
            <a:xfrm>
              <a:off x="7679816" y="1840726"/>
              <a:ext cx="277556" cy="101134"/>
            </a:xfrm>
            <a:custGeom>
              <a:avLst/>
              <a:gdLst>
                <a:gd name="connsiteX0" fmla="*/ 338163 w 1040155"/>
                <a:gd name="connsiteY0" fmla="*/ 263340 h 379004"/>
                <a:gd name="connsiteX1" fmla="*/ 840635 w 1040155"/>
                <a:gd name="connsiteY1" fmla="*/ 263340 h 379004"/>
                <a:gd name="connsiteX2" fmla="*/ 936013 w 1040155"/>
                <a:gd name="connsiteY2" fmla="*/ 232349 h 379004"/>
                <a:gd name="connsiteX3" fmla="*/ 1012388 w 1040155"/>
                <a:gd name="connsiteY3" fmla="*/ 176860 h 379004"/>
                <a:gd name="connsiteX4" fmla="*/ 1040156 w 1040155"/>
                <a:gd name="connsiteY4" fmla="*/ 164701 h 379004"/>
                <a:gd name="connsiteX5" fmla="*/ 961604 w 1040155"/>
                <a:gd name="connsiteY5" fmla="*/ 78754 h 379004"/>
                <a:gd name="connsiteX6" fmla="*/ 883851 w 1040155"/>
                <a:gd name="connsiteY6" fmla="*/ 11923 h 379004"/>
                <a:gd name="connsiteX7" fmla="*/ 820681 w 1040155"/>
                <a:gd name="connsiteY7" fmla="*/ 10954 h 379004"/>
                <a:gd name="connsiteX8" fmla="*/ 737690 w 1040155"/>
                <a:gd name="connsiteY8" fmla="*/ 77984 h 379004"/>
                <a:gd name="connsiteX9" fmla="*/ 350588 w 1040155"/>
                <a:gd name="connsiteY9" fmla="*/ 77984 h 379004"/>
                <a:gd name="connsiteX10" fmla="*/ 0 w 1040155"/>
                <a:gd name="connsiteY10" fmla="*/ 379005 h 379004"/>
                <a:gd name="connsiteX11" fmla="*/ 338163 w 1040155"/>
                <a:gd name="connsiteY11" fmla="*/ 263340 h 379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40155" h="379004">
                  <a:moveTo>
                    <a:pt x="338163" y="263340"/>
                  </a:moveTo>
                  <a:lnTo>
                    <a:pt x="840635" y="263340"/>
                  </a:lnTo>
                  <a:cubicBezTo>
                    <a:pt x="874905" y="263340"/>
                    <a:pt x="908292" y="252493"/>
                    <a:pt x="936013" y="232349"/>
                  </a:cubicBezTo>
                  <a:lnTo>
                    <a:pt x="1012388" y="176860"/>
                  </a:lnTo>
                  <a:cubicBezTo>
                    <a:pt x="1020696" y="170823"/>
                    <a:pt x="1030326" y="166869"/>
                    <a:pt x="1040156" y="164701"/>
                  </a:cubicBezTo>
                  <a:cubicBezTo>
                    <a:pt x="1017730" y="133292"/>
                    <a:pt x="991426" y="104392"/>
                    <a:pt x="961604" y="78754"/>
                  </a:cubicBezTo>
                  <a:lnTo>
                    <a:pt x="883851" y="11923"/>
                  </a:lnTo>
                  <a:cubicBezTo>
                    <a:pt x="865789" y="-3601"/>
                    <a:pt x="839218" y="-4009"/>
                    <a:pt x="820681" y="10954"/>
                  </a:cubicBezTo>
                  <a:lnTo>
                    <a:pt x="737690" y="77984"/>
                  </a:lnTo>
                  <a:lnTo>
                    <a:pt x="350588" y="77984"/>
                  </a:lnTo>
                  <a:cubicBezTo>
                    <a:pt x="172884" y="77984"/>
                    <a:pt x="25734" y="208488"/>
                    <a:pt x="0" y="379005"/>
                  </a:cubicBezTo>
                  <a:cubicBezTo>
                    <a:pt x="89864" y="306975"/>
                    <a:pt x="208295" y="263340"/>
                    <a:pt x="338163" y="263340"/>
                  </a:cubicBezTo>
                  <a:close/>
                </a:path>
              </a:pathLst>
            </a:custGeom>
            <a:solidFill>
              <a:srgbClr val="F4F4F4"/>
            </a:solidFill>
            <a:ln w="9506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58" name="Frihandsfigur: Form 457">
              <a:extLst>
                <a:ext uri="{FF2B5EF4-FFF2-40B4-BE49-F238E27FC236}">
                  <a16:creationId xmlns:a16="http://schemas.microsoft.com/office/drawing/2014/main" id="{FFE047C0-CCFC-2C85-0360-9D8E95EDC52E}"/>
                </a:ext>
              </a:extLst>
            </p:cNvPr>
            <p:cNvSpPr/>
            <p:nvPr/>
          </p:nvSpPr>
          <p:spPr>
            <a:xfrm>
              <a:off x="7811085" y="2305988"/>
              <a:ext cx="38050" cy="293557"/>
            </a:xfrm>
            <a:custGeom>
              <a:avLst/>
              <a:gdLst>
                <a:gd name="connsiteX0" fmla="*/ 142596 w 142596"/>
                <a:gd name="connsiteY0" fmla="*/ 1100122 h 1100122"/>
                <a:gd name="connsiteX1" fmla="*/ 142596 w 142596"/>
                <a:gd name="connsiteY1" fmla="*/ 46144 h 1100122"/>
                <a:gd name="connsiteX2" fmla="*/ 139783 w 142596"/>
                <a:gd name="connsiteY2" fmla="*/ 26456 h 1100122"/>
                <a:gd name="connsiteX3" fmla="*/ 112841 w 142596"/>
                <a:gd name="connsiteY3" fmla="*/ 40583 h 1100122"/>
                <a:gd name="connsiteX4" fmla="*/ 16997 w 142596"/>
                <a:gd name="connsiteY4" fmla="*/ 0 h 1100122"/>
                <a:gd name="connsiteX5" fmla="*/ 0 w 142596"/>
                <a:gd name="connsiteY5" fmla="*/ 46144 h 1100122"/>
                <a:gd name="connsiteX6" fmla="*/ 0 w 142596"/>
                <a:gd name="connsiteY6" fmla="*/ 1100122 h 1100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596" h="1100122">
                  <a:moveTo>
                    <a:pt x="142596" y="1100122"/>
                  </a:moveTo>
                  <a:lnTo>
                    <a:pt x="142596" y="46144"/>
                  </a:lnTo>
                  <a:cubicBezTo>
                    <a:pt x="142596" y="39309"/>
                    <a:pt x="141579" y="32721"/>
                    <a:pt x="139783" y="26456"/>
                  </a:cubicBezTo>
                  <a:cubicBezTo>
                    <a:pt x="123213" y="35155"/>
                    <a:pt x="112841" y="40583"/>
                    <a:pt x="112841" y="40583"/>
                  </a:cubicBezTo>
                  <a:lnTo>
                    <a:pt x="16997" y="0"/>
                  </a:lnTo>
                  <a:cubicBezTo>
                    <a:pt x="6417" y="12444"/>
                    <a:pt x="0" y="28529"/>
                    <a:pt x="0" y="46144"/>
                  </a:cubicBezTo>
                  <a:lnTo>
                    <a:pt x="0" y="1100122"/>
                  </a:lnTo>
                  <a:close/>
                </a:path>
              </a:pathLst>
            </a:custGeom>
            <a:solidFill>
              <a:srgbClr val="F2EAE7"/>
            </a:solidFill>
            <a:ln w="9506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59" name="Frihandsfigur: Form 458">
              <a:extLst>
                <a:ext uri="{FF2B5EF4-FFF2-40B4-BE49-F238E27FC236}">
                  <a16:creationId xmlns:a16="http://schemas.microsoft.com/office/drawing/2014/main" id="{72456452-6B3E-3393-BADD-5395942E006F}"/>
                </a:ext>
              </a:extLst>
            </p:cNvPr>
            <p:cNvSpPr/>
            <p:nvPr/>
          </p:nvSpPr>
          <p:spPr>
            <a:xfrm>
              <a:off x="7537796" y="2277843"/>
              <a:ext cx="458833" cy="321697"/>
            </a:xfrm>
            <a:custGeom>
              <a:avLst/>
              <a:gdLst>
                <a:gd name="connsiteX0" fmla="*/ 1598516 w 1719504"/>
                <a:gd name="connsiteY0" fmla="*/ 126220 h 1205579"/>
                <a:gd name="connsiteX1" fmla="*/ 1411373 w 1719504"/>
                <a:gd name="connsiteY1" fmla="*/ 297 h 1205579"/>
                <a:gd name="connsiteX2" fmla="*/ 1137008 w 1719504"/>
                <a:gd name="connsiteY2" fmla="*/ 146059 h 1205579"/>
                <a:gd name="connsiteX3" fmla="*/ 792751 w 1719504"/>
                <a:gd name="connsiteY3" fmla="*/ 297 h 1205579"/>
                <a:gd name="connsiteX4" fmla="*/ 656296 w 1719504"/>
                <a:gd name="connsiteY4" fmla="*/ 86055 h 1205579"/>
                <a:gd name="connsiteX5" fmla="*/ 592403 w 1719504"/>
                <a:gd name="connsiteY5" fmla="*/ 126210 h 1205579"/>
                <a:gd name="connsiteX6" fmla="*/ 239001 w 1719504"/>
                <a:gd name="connsiteY6" fmla="*/ 360344 h 1205579"/>
                <a:gd name="connsiteX7" fmla="*/ 0 w 1719504"/>
                <a:gd name="connsiteY7" fmla="*/ 798115 h 1205579"/>
                <a:gd name="connsiteX8" fmla="*/ 0 w 1719504"/>
                <a:gd name="connsiteY8" fmla="*/ 1205580 h 1205579"/>
                <a:gd name="connsiteX9" fmla="*/ 226633 w 1719504"/>
                <a:gd name="connsiteY9" fmla="*/ 1205580 h 1205579"/>
                <a:gd name="connsiteX10" fmla="*/ 226633 w 1719504"/>
                <a:gd name="connsiteY10" fmla="*/ 903589 h 1205579"/>
                <a:gd name="connsiteX11" fmla="*/ 465635 w 1719504"/>
                <a:gd name="connsiteY11" fmla="*/ 465808 h 1205579"/>
                <a:gd name="connsiteX12" fmla="*/ 544072 w 1719504"/>
                <a:gd name="connsiteY12" fmla="*/ 413846 h 1205579"/>
                <a:gd name="connsiteX13" fmla="*/ 638072 w 1719504"/>
                <a:gd name="connsiteY13" fmla="*/ 430150 h 1205579"/>
                <a:gd name="connsiteX14" fmla="*/ 772959 w 1719504"/>
                <a:gd name="connsiteY14" fmla="*/ 514491 h 1205579"/>
                <a:gd name="connsiteX15" fmla="*/ 867804 w 1719504"/>
                <a:gd name="connsiteY15" fmla="*/ 508340 h 1205579"/>
                <a:gd name="connsiteX16" fmla="*/ 1095464 w 1719504"/>
                <a:gd name="connsiteY16" fmla="*/ 439057 h 1205579"/>
                <a:gd name="connsiteX17" fmla="*/ 1323153 w 1719504"/>
                <a:gd name="connsiteY17" fmla="*/ 508350 h 1205579"/>
                <a:gd name="connsiteX18" fmla="*/ 1383585 w 1719504"/>
                <a:gd name="connsiteY18" fmla="*/ 517333 h 1205579"/>
                <a:gd name="connsiteX19" fmla="*/ 1383595 w 1719504"/>
                <a:gd name="connsiteY19" fmla="*/ 517333 h 1205579"/>
                <a:gd name="connsiteX20" fmla="*/ 1549967 w 1719504"/>
                <a:gd name="connsiteY20" fmla="*/ 434009 h 1205579"/>
                <a:gd name="connsiteX21" fmla="*/ 1712708 w 1719504"/>
                <a:gd name="connsiteY21" fmla="*/ 216417 h 1205579"/>
                <a:gd name="connsiteX22" fmla="*/ 1719505 w 1719504"/>
                <a:gd name="connsiteY22" fmla="*/ 206340 h 1205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719504" h="1205579">
                  <a:moveTo>
                    <a:pt x="1598516" y="126220"/>
                  </a:moveTo>
                  <a:cubicBezTo>
                    <a:pt x="1598516" y="126220"/>
                    <a:pt x="1421630" y="-7108"/>
                    <a:pt x="1411373" y="297"/>
                  </a:cubicBezTo>
                  <a:cubicBezTo>
                    <a:pt x="1401115" y="7703"/>
                    <a:pt x="1137008" y="146059"/>
                    <a:pt x="1137008" y="146059"/>
                  </a:cubicBezTo>
                  <a:lnTo>
                    <a:pt x="792751" y="297"/>
                  </a:lnTo>
                  <a:lnTo>
                    <a:pt x="656296" y="86055"/>
                  </a:lnTo>
                  <a:lnTo>
                    <a:pt x="592403" y="126210"/>
                  </a:lnTo>
                  <a:lnTo>
                    <a:pt x="239001" y="360344"/>
                  </a:lnTo>
                  <a:cubicBezTo>
                    <a:pt x="89380" y="459468"/>
                    <a:pt x="0" y="623187"/>
                    <a:pt x="0" y="798115"/>
                  </a:cubicBezTo>
                  <a:lnTo>
                    <a:pt x="0" y="1205580"/>
                  </a:lnTo>
                  <a:lnTo>
                    <a:pt x="226633" y="1205580"/>
                  </a:lnTo>
                  <a:lnTo>
                    <a:pt x="226633" y="903589"/>
                  </a:lnTo>
                  <a:cubicBezTo>
                    <a:pt x="226633" y="728661"/>
                    <a:pt x="316013" y="564932"/>
                    <a:pt x="465635" y="465808"/>
                  </a:cubicBezTo>
                  <a:lnTo>
                    <a:pt x="544072" y="413846"/>
                  </a:lnTo>
                  <a:cubicBezTo>
                    <a:pt x="574778" y="393503"/>
                    <a:pt x="616017" y="400661"/>
                    <a:pt x="638072" y="430150"/>
                  </a:cubicBezTo>
                  <a:cubicBezTo>
                    <a:pt x="670945" y="474098"/>
                    <a:pt x="718819" y="505479"/>
                    <a:pt x="772959" y="514491"/>
                  </a:cubicBezTo>
                  <a:cubicBezTo>
                    <a:pt x="804881" y="519805"/>
                    <a:pt x="837175" y="517647"/>
                    <a:pt x="867804" y="508340"/>
                  </a:cubicBezTo>
                  <a:lnTo>
                    <a:pt x="1095464" y="439057"/>
                  </a:lnTo>
                  <a:lnTo>
                    <a:pt x="1323153" y="508350"/>
                  </a:lnTo>
                  <a:cubicBezTo>
                    <a:pt x="1342765" y="514310"/>
                    <a:pt x="1363099" y="517333"/>
                    <a:pt x="1383585" y="517333"/>
                  </a:cubicBezTo>
                  <a:lnTo>
                    <a:pt x="1383595" y="517333"/>
                  </a:lnTo>
                  <a:cubicBezTo>
                    <a:pt x="1448742" y="517333"/>
                    <a:pt x="1510943" y="486190"/>
                    <a:pt x="1549967" y="434009"/>
                  </a:cubicBezTo>
                  <a:lnTo>
                    <a:pt x="1712708" y="216417"/>
                  </a:lnTo>
                  <a:cubicBezTo>
                    <a:pt x="1715160" y="213137"/>
                    <a:pt x="1717280" y="209724"/>
                    <a:pt x="1719505" y="206340"/>
                  </a:cubicBezTo>
                  <a:close/>
                </a:path>
              </a:pathLst>
            </a:custGeom>
            <a:solidFill>
              <a:srgbClr val="000000">
                <a:alpha val="25098"/>
              </a:srgbClr>
            </a:solidFill>
            <a:ln w="9506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60" name="Frihandsfigur: Form 459">
              <a:extLst>
                <a:ext uri="{FF2B5EF4-FFF2-40B4-BE49-F238E27FC236}">
                  <a16:creationId xmlns:a16="http://schemas.microsoft.com/office/drawing/2014/main" id="{ABC406CE-0BDE-08F3-CBD1-DEA41BAA4A5C}"/>
                </a:ext>
              </a:extLst>
            </p:cNvPr>
            <p:cNvSpPr/>
            <p:nvPr/>
          </p:nvSpPr>
          <p:spPr>
            <a:xfrm>
              <a:off x="7692704" y="2258758"/>
              <a:ext cx="137407" cy="119087"/>
            </a:xfrm>
            <a:custGeom>
              <a:avLst/>
              <a:gdLst>
                <a:gd name="connsiteX0" fmla="*/ 212226 w 514939"/>
                <a:gd name="connsiteY0" fmla="*/ 6090 h 446285"/>
                <a:gd name="connsiteX1" fmla="*/ 514939 w 514939"/>
                <a:gd name="connsiteY1" fmla="*/ 154523 h 446285"/>
                <a:gd name="connsiteX2" fmla="*/ 514939 w 514939"/>
                <a:gd name="connsiteY2" fmla="*/ 361545 h 446285"/>
                <a:gd name="connsiteX3" fmla="*/ 245765 w 514939"/>
                <a:gd name="connsiteY3" fmla="*/ 443462 h 446285"/>
                <a:gd name="connsiteX4" fmla="*/ 174628 w 514939"/>
                <a:gd name="connsiteY4" fmla="*/ 420152 h 446285"/>
                <a:gd name="connsiteX5" fmla="*/ 11878 w 514939"/>
                <a:gd name="connsiteY5" fmla="*/ 202550 h 446285"/>
                <a:gd name="connsiteX6" fmla="*/ 21042 w 514939"/>
                <a:gd name="connsiteY6" fmla="*/ 121384 h 446285"/>
                <a:gd name="connsiteX7" fmla="*/ 147402 w 514939"/>
                <a:gd name="connsiteY7" fmla="*/ 14161 h 446285"/>
                <a:gd name="connsiteX8" fmla="*/ 212226 w 514939"/>
                <a:gd name="connsiteY8" fmla="*/ 6090 h 446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4939" h="446285">
                  <a:moveTo>
                    <a:pt x="212226" y="6090"/>
                  </a:moveTo>
                  <a:lnTo>
                    <a:pt x="514939" y="154523"/>
                  </a:lnTo>
                  <a:lnTo>
                    <a:pt x="514939" y="361545"/>
                  </a:lnTo>
                  <a:lnTo>
                    <a:pt x="245765" y="443462"/>
                  </a:lnTo>
                  <a:cubicBezTo>
                    <a:pt x="219508" y="451447"/>
                    <a:pt x="191065" y="442131"/>
                    <a:pt x="174628" y="420152"/>
                  </a:cubicBezTo>
                  <a:lnTo>
                    <a:pt x="11878" y="202550"/>
                  </a:lnTo>
                  <a:cubicBezTo>
                    <a:pt x="-6992" y="177320"/>
                    <a:pt x="-2971" y="141775"/>
                    <a:pt x="21042" y="121384"/>
                  </a:cubicBezTo>
                  <a:lnTo>
                    <a:pt x="147402" y="14161"/>
                  </a:lnTo>
                  <a:cubicBezTo>
                    <a:pt x="165483" y="-1183"/>
                    <a:pt x="190932" y="-4348"/>
                    <a:pt x="212226" y="6090"/>
                  </a:cubicBezTo>
                  <a:close/>
                </a:path>
              </a:pathLst>
            </a:custGeom>
            <a:solidFill>
              <a:schemeClr val="accent1"/>
            </a:solidFill>
            <a:ln w="9506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61" name="Frihandsfigur: Form 460">
              <a:extLst>
                <a:ext uri="{FF2B5EF4-FFF2-40B4-BE49-F238E27FC236}">
                  <a16:creationId xmlns:a16="http://schemas.microsoft.com/office/drawing/2014/main" id="{9A4BF426-E7F6-2DE9-6F87-1ED46DF066B6}"/>
                </a:ext>
              </a:extLst>
            </p:cNvPr>
            <p:cNvSpPr/>
            <p:nvPr/>
          </p:nvSpPr>
          <p:spPr>
            <a:xfrm>
              <a:off x="7830111" y="2258758"/>
              <a:ext cx="137407" cy="119087"/>
            </a:xfrm>
            <a:custGeom>
              <a:avLst/>
              <a:gdLst>
                <a:gd name="connsiteX0" fmla="*/ 302714 w 514939"/>
                <a:gd name="connsiteY0" fmla="*/ 6090 h 446285"/>
                <a:gd name="connsiteX1" fmla="*/ 0 w 514939"/>
                <a:gd name="connsiteY1" fmla="*/ 154523 h 446285"/>
                <a:gd name="connsiteX2" fmla="*/ 0 w 514939"/>
                <a:gd name="connsiteY2" fmla="*/ 361545 h 446285"/>
                <a:gd name="connsiteX3" fmla="*/ 269175 w 514939"/>
                <a:gd name="connsiteY3" fmla="*/ 443462 h 446285"/>
                <a:gd name="connsiteX4" fmla="*/ 340311 w 514939"/>
                <a:gd name="connsiteY4" fmla="*/ 420152 h 446285"/>
                <a:gd name="connsiteX5" fmla="*/ 503061 w 514939"/>
                <a:gd name="connsiteY5" fmla="*/ 202550 h 446285"/>
                <a:gd name="connsiteX6" fmla="*/ 493897 w 514939"/>
                <a:gd name="connsiteY6" fmla="*/ 121384 h 446285"/>
                <a:gd name="connsiteX7" fmla="*/ 367538 w 514939"/>
                <a:gd name="connsiteY7" fmla="*/ 14161 h 446285"/>
                <a:gd name="connsiteX8" fmla="*/ 302714 w 514939"/>
                <a:gd name="connsiteY8" fmla="*/ 6090 h 446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4939" h="446285">
                  <a:moveTo>
                    <a:pt x="302714" y="6090"/>
                  </a:moveTo>
                  <a:lnTo>
                    <a:pt x="0" y="154523"/>
                  </a:lnTo>
                  <a:lnTo>
                    <a:pt x="0" y="361545"/>
                  </a:lnTo>
                  <a:lnTo>
                    <a:pt x="269175" y="443462"/>
                  </a:lnTo>
                  <a:cubicBezTo>
                    <a:pt x="295431" y="451447"/>
                    <a:pt x="323875" y="442131"/>
                    <a:pt x="340311" y="420152"/>
                  </a:cubicBezTo>
                  <a:lnTo>
                    <a:pt x="503061" y="202550"/>
                  </a:lnTo>
                  <a:cubicBezTo>
                    <a:pt x="521932" y="177320"/>
                    <a:pt x="517911" y="141775"/>
                    <a:pt x="493897" y="121384"/>
                  </a:cubicBezTo>
                  <a:lnTo>
                    <a:pt x="367538" y="14161"/>
                  </a:lnTo>
                  <a:cubicBezTo>
                    <a:pt x="349447" y="-1183"/>
                    <a:pt x="323998" y="-4348"/>
                    <a:pt x="302714" y="6090"/>
                  </a:cubicBezTo>
                  <a:close/>
                </a:path>
              </a:pathLst>
            </a:custGeom>
            <a:solidFill>
              <a:schemeClr val="accent1"/>
            </a:solidFill>
            <a:ln w="9506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62" name="Frihandsfigur: Form 461">
              <a:extLst>
                <a:ext uri="{FF2B5EF4-FFF2-40B4-BE49-F238E27FC236}">
                  <a16:creationId xmlns:a16="http://schemas.microsoft.com/office/drawing/2014/main" id="{119B85C9-01DF-0B9A-8350-76F04B03D1D2}"/>
                </a:ext>
              </a:extLst>
            </p:cNvPr>
            <p:cNvSpPr/>
            <p:nvPr/>
          </p:nvSpPr>
          <p:spPr>
            <a:xfrm>
              <a:off x="7626949" y="2480325"/>
              <a:ext cx="38050" cy="119220"/>
            </a:xfrm>
            <a:custGeom>
              <a:avLst/>
              <a:gdLst>
                <a:gd name="connsiteX0" fmla="*/ 142596 w 142596"/>
                <a:gd name="connsiteY0" fmla="*/ 446783 h 446783"/>
                <a:gd name="connsiteX1" fmla="*/ 142596 w 142596"/>
                <a:gd name="connsiteY1" fmla="*/ 71298 h 446783"/>
                <a:gd name="connsiteX2" fmla="*/ 71298 w 142596"/>
                <a:gd name="connsiteY2" fmla="*/ 0 h 446783"/>
                <a:gd name="connsiteX3" fmla="*/ 0 w 142596"/>
                <a:gd name="connsiteY3" fmla="*/ 71298 h 446783"/>
                <a:gd name="connsiteX4" fmla="*/ 0 w 142596"/>
                <a:gd name="connsiteY4" fmla="*/ 446783 h 446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596" h="446783">
                  <a:moveTo>
                    <a:pt x="142596" y="446783"/>
                  </a:moveTo>
                  <a:lnTo>
                    <a:pt x="142596" y="71298"/>
                  </a:lnTo>
                  <a:cubicBezTo>
                    <a:pt x="142596" y="31913"/>
                    <a:pt x="110674" y="0"/>
                    <a:pt x="71298" y="0"/>
                  </a:cubicBezTo>
                  <a:cubicBezTo>
                    <a:pt x="31923" y="0"/>
                    <a:pt x="0" y="31913"/>
                    <a:pt x="0" y="71298"/>
                  </a:cubicBezTo>
                  <a:lnTo>
                    <a:pt x="0" y="446783"/>
                  </a:lnTo>
                  <a:close/>
                </a:path>
              </a:pathLst>
            </a:custGeom>
            <a:solidFill>
              <a:srgbClr val="F2EAE7"/>
            </a:solidFill>
            <a:ln w="9506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63" name="Frihandsfigur: Form 462">
              <a:extLst>
                <a:ext uri="{FF2B5EF4-FFF2-40B4-BE49-F238E27FC236}">
                  <a16:creationId xmlns:a16="http://schemas.microsoft.com/office/drawing/2014/main" id="{4F22EF3B-89B7-CD50-4AC9-6E4D47E0C51F}"/>
                </a:ext>
              </a:extLst>
            </p:cNvPr>
            <p:cNvSpPr/>
            <p:nvPr/>
          </p:nvSpPr>
          <p:spPr>
            <a:xfrm>
              <a:off x="7995219" y="2480325"/>
              <a:ext cx="38050" cy="119220"/>
            </a:xfrm>
            <a:custGeom>
              <a:avLst/>
              <a:gdLst>
                <a:gd name="connsiteX0" fmla="*/ 142596 w 142596"/>
                <a:gd name="connsiteY0" fmla="*/ 446783 h 446783"/>
                <a:gd name="connsiteX1" fmla="*/ 142596 w 142596"/>
                <a:gd name="connsiteY1" fmla="*/ 71298 h 446783"/>
                <a:gd name="connsiteX2" fmla="*/ 71298 w 142596"/>
                <a:gd name="connsiteY2" fmla="*/ 0 h 446783"/>
                <a:gd name="connsiteX3" fmla="*/ 0 w 142596"/>
                <a:gd name="connsiteY3" fmla="*/ 71298 h 446783"/>
                <a:gd name="connsiteX4" fmla="*/ 0 w 142596"/>
                <a:gd name="connsiteY4" fmla="*/ 446783 h 446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596" h="446783">
                  <a:moveTo>
                    <a:pt x="142596" y="446783"/>
                  </a:moveTo>
                  <a:lnTo>
                    <a:pt x="142596" y="71298"/>
                  </a:lnTo>
                  <a:cubicBezTo>
                    <a:pt x="142596" y="31913"/>
                    <a:pt x="110674" y="0"/>
                    <a:pt x="71298" y="0"/>
                  </a:cubicBezTo>
                  <a:cubicBezTo>
                    <a:pt x="31923" y="0"/>
                    <a:pt x="0" y="31913"/>
                    <a:pt x="0" y="71298"/>
                  </a:cubicBezTo>
                  <a:lnTo>
                    <a:pt x="0" y="446783"/>
                  </a:lnTo>
                  <a:close/>
                </a:path>
              </a:pathLst>
            </a:custGeom>
            <a:solidFill>
              <a:srgbClr val="F2EAE7"/>
            </a:solidFill>
            <a:ln w="9506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64" name="Frihandsfigur: Form 463">
              <a:extLst>
                <a:ext uri="{FF2B5EF4-FFF2-40B4-BE49-F238E27FC236}">
                  <a16:creationId xmlns:a16="http://schemas.microsoft.com/office/drawing/2014/main" id="{BE721198-DA8A-BA2E-C0CC-AD7E4036CF1A}"/>
                </a:ext>
              </a:extLst>
            </p:cNvPr>
            <p:cNvSpPr/>
            <p:nvPr/>
          </p:nvSpPr>
          <p:spPr>
            <a:xfrm>
              <a:off x="8155247" y="2091648"/>
              <a:ext cx="210348" cy="276984"/>
            </a:xfrm>
            <a:custGeom>
              <a:avLst/>
              <a:gdLst>
                <a:gd name="connsiteX0" fmla="*/ 788292 w 788292"/>
                <a:gd name="connsiteY0" fmla="*/ 189411 h 1038012"/>
                <a:gd name="connsiteX1" fmla="*/ 788292 w 788292"/>
                <a:gd name="connsiteY1" fmla="*/ 643866 h 1038012"/>
                <a:gd name="connsiteX2" fmla="*/ 394146 w 788292"/>
                <a:gd name="connsiteY2" fmla="*/ 1038012 h 1038012"/>
                <a:gd name="connsiteX3" fmla="*/ 0 w 788292"/>
                <a:gd name="connsiteY3" fmla="*/ 643866 h 1038012"/>
                <a:gd name="connsiteX4" fmla="*/ 0 w 788292"/>
                <a:gd name="connsiteY4" fmla="*/ 301834 h 1038012"/>
                <a:gd name="connsiteX5" fmla="*/ 101586 w 788292"/>
                <a:gd name="connsiteY5" fmla="*/ 12363 h 1038012"/>
                <a:gd name="connsiteX6" fmla="*/ 148120 w 788292"/>
                <a:gd name="connsiteY6" fmla="*/ 7391 h 1038012"/>
                <a:gd name="connsiteX7" fmla="*/ 166515 w 788292"/>
                <a:gd name="connsiteY7" fmla="*/ 22354 h 1038012"/>
                <a:gd name="connsiteX8" fmla="*/ 458771 w 788292"/>
                <a:gd name="connsiteY8" fmla="*/ 130585 h 1038012"/>
                <a:gd name="connsiteX9" fmla="*/ 738174 w 788292"/>
                <a:gd name="connsiteY9" fmla="*/ 137953 h 1038012"/>
                <a:gd name="connsiteX10" fmla="*/ 788292 w 788292"/>
                <a:gd name="connsiteY10" fmla="*/ 189411 h 1038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88292" h="1038012">
                  <a:moveTo>
                    <a:pt x="788292" y="189411"/>
                  </a:moveTo>
                  <a:lnTo>
                    <a:pt x="788292" y="643866"/>
                  </a:lnTo>
                  <a:cubicBezTo>
                    <a:pt x="788292" y="861544"/>
                    <a:pt x="611825" y="1038012"/>
                    <a:pt x="394146" y="1038012"/>
                  </a:cubicBezTo>
                  <a:cubicBezTo>
                    <a:pt x="176468" y="1038012"/>
                    <a:pt x="0" y="861544"/>
                    <a:pt x="0" y="643866"/>
                  </a:cubicBezTo>
                  <a:lnTo>
                    <a:pt x="0" y="301834"/>
                  </a:lnTo>
                  <a:cubicBezTo>
                    <a:pt x="0" y="196607"/>
                    <a:pt x="35830" y="94518"/>
                    <a:pt x="101586" y="12363"/>
                  </a:cubicBezTo>
                  <a:cubicBezTo>
                    <a:pt x="113022" y="-1925"/>
                    <a:pt x="133917" y="-4159"/>
                    <a:pt x="148120" y="7391"/>
                  </a:cubicBezTo>
                  <a:lnTo>
                    <a:pt x="166515" y="22354"/>
                  </a:lnTo>
                  <a:cubicBezTo>
                    <a:pt x="249306" y="89717"/>
                    <a:pt x="352071" y="127771"/>
                    <a:pt x="458771" y="130585"/>
                  </a:cubicBezTo>
                  <a:lnTo>
                    <a:pt x="738174" y="137953"/>
                  </a:lnTo>
                  <a:cubicBezTo>
                    <a:pt x="766067" y="138685"/>
                    <a:pt x="788292" y="161510"/>
                    <a:pt x="788292" y="189411"/>
                  </a:cubicBezTo>
                  <a:close/>
                </a:path>
              </a:pathLst>
            </a:custGeom>
            <a:solidFill>
              <a:srgbClr val="F4F4F4"/>
            </a:solidFill>
            <a:ln w="9506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65" name="Frihandsfigur: Form 464">
              <a:extLst>
                <a:ext uri="{FF2B5EF4-FFF2-40B4-BE49-F238E27FC236}">
                  <a16:creationId xmlns:a16="http://schemas.microsoft.com/office/drawing/2014/main" id="{B1FA35E0-DA44-C5D2-E841-000E1FA459D7}"/>
                </a:ext>
              </a:extLst>
            </p:cNvPr>
            <p:cNvSpPr/>
            <p:nvPr/>
          </p:nvSpPr>
          <p:spPr>
            <a:xfrm>
              <a:off x="8166292" y="2091646"/>
              <a:ext cx="199306" cy="65362"/>
            </a:xfrm>
            <a:custGeom>
              <a:avLst/>
              <a:gdLst>
                <a:gd name="connsiteX0" fmla="*/ 8442 w 746910"/>
                <a:gd name="connsiteY0" fmla="*/ 114652 h 244947"/>
                <a:gd name="connsiteX1" fmla="*/ 31875 w 746910"/>
                <a:gd name="connsiteY1" fmla="*/ 129616 h 244947"/>
                <a:gd name="connsiteX2" fmla="*/ 404071 w 746910"/>
                <a:gd name="connsiteY2" fmla="*/ 237846 h 244947"/>
                <a:gd name="connsiteX3" fmla="*/ 746911 w 746910"/>
                <a:gd name="connsiteY3" fmla="*/ 244948 h 244947"/>
                <a:gd name="connsiteX4" fmla="*/ 746911 w 746910"/>
                <a:gd name="connsiteY4" fmla="*/ 189421 h 244947"/>
                <a:gd name="connsiteX5" fmla="*/ 696793 w 746910"/>
                <a:gd name="connsiteY5" fmla="*/ 137962 h 244947"/>
                <a:gd name="connsiteX6" fmla="*/ 417390 w 746910"/>
                <a:gd name="connsiteY6" fmla="*/ 130595 h 244947"/>
                <a:gd name="connsiteX7" fmla="*/ 125133 w 746910"/>
                <a:gd name="connsiteY7" fmla="*/ 22364 h 244947"/>
                <a:gd name="connsiteX8" fmla="*/ 106738 w 746910"/>
                <a:gd name="connsiteY8" fmla="*/ 7391 h 244947"/>
                <a:gd name="connsiteX9" fmla="*/ 60204 w 746910"/>
                <a:gd name="connsiteY9" fmla="*/ 12363 h 244947"/>
                <a:gd name="connsiteX10" fmla="*/ 0 w 746910"/>
                <a:gd name="connsiteY10" fmla="*/ 110546 h 244947"/>
                <a:gd name="connsiteX11" fmla="*/ 8442 w 746910"/>
                <a:gd name="connsiteY11" fmla="*/ 114652 h 244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46910" h="244946">
                  <a:moveTo>
                    <a:pt x="8442" y="114652"/>
                  </a:moveTo>
                  <a:lnTo>
                    <a:pt x="31875" y="129616"/>
                  </a:lnTo>
                  <a:cubicBezTo>
                    <a:pt x="137320" y="196978"/>
                    <a:pt x="268186" y="235032"/>
                    <a:pt x="404071" y="237846"/>
                  </a:cubicBezTo>
                  <a:lnTo>
                    <a:pt x="746911" y="244948"/>
                  </a:lnTo>
                  <a:lnTo>
                    <a:pt x="746911" y="189421"/>
                  </a:lnTo>
                  <a:cubicBezTo>
                    <a:pt x="746911" y="161519"/>
                    <a:pt x="724685" y="138694"/>
                    <a:pt x="696793" y="137962"/>
                  </a:cubicBezTo>
                  <a:lnTo>
                    <a:pt x="417390" y="130595"/>
                  </a:lnTo>
                  <a:cubicBezTo>
                    <a:pt x="310689" y="127781"/>
                    <a:pt x="207925" y="89727"/>
                    <a:pt x="125133" y="22364"/>
                  </a:cubicBezTo>
                  <a:lnTo>
                    <a:pt x="106738" y="7391"/>
                  </a:lnTo>
                  <a:cubicBezTo>
                    <a:pt x="92536" y="-4159"/>
                    <a:pt x="71641" y="-1925"/>
                    <a:pt x="60204" y="12363"/>
                  </a:cubicBezTo>
                  <a:cubicBezTo>
                    <a:pt x="35953" y="42651"/>
                    <a:pt x="15819" y="75667"/>
                    <a:pt x="0" y="110546"/>
                  </a:cubicBezTo>
                  <a:cubicBezTo>
                    <a:pt x="2937" y="111658"/>
                    <a:pt x="5790" y="112960"/>
                    <a:pt x="8442" y="114652"/>
                  </a:cubicBezTo>
                  <a:close/>
                </a:path>
              </a:pathLst>
            </a:custGeom>
            <a:solidFill>
              <a:srgbClr val="F4F4F4"/>
            </a:solidFill>
            <a:ln w="9506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66" name="Frihandsfigur: Form 465">
              <a:extLst>
                <a:ext uri="{FF2B5EF4-FFF2-40B4-BE49-F238E27FC236}">
                  <a16:creationId xmlns:a16="http://schemas.microsoft.com/office/drawing/2014/main" id="{FA47082C-33F9-B4D5-D1C8-A2A409286885}"/>
                </a:ext>
              </a:extLst>
            </p:cNvPr>
            <p:cNvSpPr/>
            <p:nvPr/>
          </p:nvSpPr>
          <p:spPr>
            <a:xfrm>
              <a:off x="7306487" y="2105626"/>
              <a:ext cx="200247" cy="252169"/>
            </a:xfrm>
            <a:custGeom>
              <a:avLst/>
              <a:gdLst>
                <a:gd name="connsiteX0" fmla="*/ 73038 w 750437"/>
                <a:gd name="connsiteY0" fmla="*/ 11629 h 945018"/>
                <a:gd name="connsiteX1" fmla="*/ 0 w 750437"/>
                <a:gd name="connsiteY1" fmla="*/ 237027 h 945018"/>
                <a:gd name="connsiteX2" fmla="*/ 0 w 750437"/>
                <a:gd name="connsiteY2" fmla="*/ 569799 h 945018"/>
                <a:gd name="connsiteX3" fmla="*/ 375219 w 750437"/>
                <a:gd name="connsiteY3" fmla="*/ 945018 h 945018"/>
                <a:gd name="connsiteX4" fmla="*/ 750438 w 750437"/>
                <a:gd name="connsiteY4" fmla="*/ 569799 h 945018"/>
                <a:gd name="connsiteX5" fmla="*/ 750438 w 750437"/>
                <a:gd name="connsiteY5" fmla="*/ 201796 h 945018"/>
                <a:gd name="connsiteX6" fmla="*/ 701736 w 750437"/>
                <a:gd name="connsiteY6" fmla="*/ 153094 h 945018"/>
                <a:gd name="connsiteX7" fmla="*/ 525677 w 750437"/>
                <a:gd name="connsiteY7" fmla="*/ 153094 h 945018"/>
                <a:gd name="connsiteX8" fmla="*/ 132976 w 750437"/>
                <a:gd name="connsiteY8" fmla="*/ 21022 h 945018"/>
                <a:gd name="connsiteX9" fmla="*/ 112803 w 750437"/>
                <a:gd name="connsiteY9" fmla="*/ 5726 h 945018"/>
                <a:gd name="connsiteX10" fmla="*/ 73038 w 750437"/>
                <a:gd name="connsiteY10" fmla="*/ 11629 h 945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0437" h="945018">
                  <a:moveTo>
                    <a:pt x="73038" y="11629"/>
                  </a:moveTo>
                  <a:cubicBezTo>
                    <a:pt x="25563" y="77195"/>
                    <a:pt x="0" y="156079"/>
                    <a:pt x="0" y="237027"/>
                  </a:cubicBezTo>
                  <a:lnTo>
                    <a:pt x="0" y="569799"/>
                  </a:lnTo>
                  <a:cubicBezTo>
                    <a:pt x="0" y="777030"/>
                    <a:pt x="167988" y="945018"/>
                    <a:pt x="375219" y="945018"/>
                  </a:cubicBezTo>
                  <a:cubicBezTo>
                    <a:pt x="582450" y="945018"/>
                    <a:pt x="750438" y="777030"/>
                    <a:pt x="750438" y="569799"/>
                  </a:cubicBezTo>
                  <a:lnTo>
                    <a:pt x="750438" y="201796"/>
                  </a:lnTo>
                  <a:cubicBezTo>
                    <a:pt x="750438" y="174893"/>
                    <a:pt x="728630" y="153094"/>
                    <a:pt x="701736" y="153094"/>
                  </a:cubicBezTo>
                  <a:lnTo>
                    <a:pt x="525677" y="153094"/>
                  </a:lnTo>
                  <a:cubicBezTo>
                    <a:pt x="383870" y="153094"/>
                    <a:pt x="245960" y="106712"/>
                    <a:pt x="132976" y="21022"/>
                  </a:cubicBezTo>
                  <a:lnTo>
                    <a:pt x="112803" y="5726"/>
                  </a:lnTo>
                  <a:cubicBezTo>
                    <a:pt x="100245" y="-3819"/>
                    <a:pt x="82288" y="-1147"/>
                    <a:pt x="73038" y="11629"/>
                  </a:cubicBezTo>
                  <a:close/>
                </a:path>
              </a:pathLst>
            </a:custGeom>
            <a:solidFill>
              <a:srgbClr val="F4F4F4"/>
            </a:solidFill>
            <a:ln w="9506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67" name="Frihandsfigur: Form 466">
              <a:extLst>
                <a:ext uri="{FF2B5EF4-FFF2-40B4-BE49-F238E27FC236}">
                  <a16:creationId xmlns:a16="http://schemas.microsoft.com/office/drawing/2014/main" id="{3EEF349B-8409-7E1E-41EE-F9C2EB5838D0}"/>
                </a:ext>
              </a:extLst>
            </p:cNvPr>
            <p:cNvSpPr/>
            <p:nvPr/>
          </p:nvSpPr>
          <p:spPr>
            <a:xfrm>
              <a:off x="7311855" y="2105623"/>
              <a:ext cx="194882" cy="79674"/>
            </a:xfrm>
            <a:custGeom>
              <a:avLst/>
              <a:gdLst>
                <a:gd name="connsiteX0" fmla="*/ 3403 w 730331"/>
                <a:gd name="connsiteY0" fmla="*/ 117115 h 298582"/>
                <a:gd name="connsiteX1" fmla="*/ 542979 w 730331"/>
                <a:gd name="connsiteY1" fmla="*/ 298583 h 298582"/>
                <a:gd name="connsiteX2" fmla="*/ 730332 w 730331"/>
                <a:gd name="connsiteY2" fmla="*/ 298583 h 298582"/>
                <a:gd name="connsiteX3" fmla="*/ 730332 w 730331"/>
                <a:gd name="connsiteY3" fmla="*/ 201798 h 298582"/>
                <a:gd name="connsiteX4" fmla="*/ 681630 w 730331"/>
                <a:gd name="connsiteY4" fmla="*/ 153087 h 298582"/>
                <a:gd name="connsiteX5" fmla="*/ 505571 w 730331"/>
                <a:gd name="connsiteY5" fmla="*/ 153087 h 298582"/>
                <a:gd name="connsiteX6" fmla="*/ 112870 w 730331"/>
                <a:gd name="connsiteY6" fmla="*/ 21014 h 298582"/>
                <a:gd name="connsiteX7" fmla="*/ 92697 w 730331"/>
                <a:gd name="connsiteY7" fmla="*/ 5718 h 298582"/>
                <a:gd name="connsiteX8" fmla="*/ 52922 w 730331"/>
                <a:gd name="connsiteY8" fmla="*/ 11631 h 298582"/>
                <a:gd name="connsiteX9" fmla="*/ 0 w 730331"/>
                <a:gd name="connsiteY9" fmla="*/ 114529 h 298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30331" h="298582">
                  <a:moveTo>
                    <a:pt x="3403" y="117115"/>
                  </a:moveTo>
                  <a:cubicBezTo>
                    <a:pt x="158643" y="234852"/>
                    <a:pt x="348135" y="298583"/>
                    <a:pt x="542979" y="298583"/>
                  </a:cubicBezTo>
                  <a:lnTo>
                    <a:pt x="730332" y="298583"/>
                  </a:lnTo>
                  <a:lnTo>
                    <a:pt x="730332" y="201798"/>
                  </a:lnTo>
                  <a:cubicBezTo>
                    <a:pt x="730332" y="174894"/>
                    <a:pt x="708524" y="153087"/>
                    <a:pt x="681630" y="153087"/>
                  </a:cubicBezTo>
                  <a:lnTo>
                    <a:pt x="505571" y="153087"/>
                  </a:lnTo>
                  <a:cubicBezTo>
                    <a:pt x="363764" y="153087"/>
                    <a:pt x="225854" y="106705"/>
                    <a:pt x="112870" y="21014"/>
                  </a:cubicBezTo>
                  <a:lnTo>
                    <a:pt x="92697" y="5718"/>
                  </a:lnTo>
                  <a:cubicBezTo>
                    <a:pt x="80130" y="-3817"/>
                    <a:pt x="62182" y="-1146"/>
                    <a:pt x="52922" y="11631"/>
                  </a:cubicBezTo>
                  <a:cubicBezTo>
                    <a:pt x="30031" y="43249"/>
                    <a:pt x="12292" y="77976"/>
                    <a:pt x="0" y="114529"/>
                  </a:cubicBezTo>
                  <a:close/>
                </a:path>
              </a:pathLst>
            </a:custGeom>
            <a:solidFill>
              <a:srgbClr val="F4F4F4"/>
            </a:solidFill>
            <a:ln w="9506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68" name="Frihandsfigur: Form 467">
              <a:extLst>
                <a:ext uri="{FF2B5EF4-FFF2-40B4-BE49-F238E27FC236}">
                  <a16:creationId xmlns:a16="http://schemas.microsoft.com/office/drawing/2014/main" id="{68CA5035-BDA2-B953-E9DA-CB000423CC7B}"/>
                </a:ext>
              </a:extLst>
            </p:cNvPr>
            <p:cNvSpPr/>
            <p:nvPr/>
          </p:nvSpPr>
          <p:spPr>
            <a:xfrm>
              <a:off x="7626949" y="2480325"/>
              <a:ext cx="38050" cy="138245"/>
            </a:xfrm>
            <a:custGeom>
              <a:avLst/>
              <a:gdLst>
                <a:gd name="connsiteX0" fmla="*/ 71298 w 142596"/>
                <a:gd name="connsiteY0" fmla="*/ 0 h 518081"/>
                <a:gd name="connsiteX1" fmla="*/ 0 w 142596"/>
                <a:gd name="connsiteY1" fmla="*/ 71298 h 518081"/>
                <a:gd name="connsiteX2" fmla="*/ 0 w 142596"/>
                <a:gd name="connsiteY2" fmla="*/ 446783 h 518081"/>
                <a:gd name="connsiteX3" fmla="*/ 71298 w 142596"/>
                <a:gd name="connsiteY3" fmla="*/ 518082 h 518081"/>
                <a:gd name="connsiteX4" fmla="*/ 142596 w 142596"/>
                <a:gd name="connsiteY4" fmla="*/ 446783 h 518081"/>
                <a:gd name="connsiteX5" fmla="*/ 142596 w 142596"/>
                <a:gd name="connsiteY5" fmla="*/ 71298 h 518081"/>
                <a:gd name="connsiteX6" fmla="*/ 71298 w 142596"/>
                <a:gd name="connsiteY6" fmla="*/ 0 h 518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596" h="518081">
                  <a:moveTo>
                    <a:pt x="71298" y="0"/>
                  </a:moveTo>
                  <a:cubicBezTo>
                    <a:pt x="31923" y="0"/>
                    <a:pt x="0" y="31913"/>
                    <a:pt x="0" y="71298"/>
                  </a:cubicBezTo>
                  <a:lnTo>
                    <a:pt x="0" y="446783"/>
                  </a:lnTo>
                  <a:cubicBezTo>
                    <a:pt x="0" y="486169"/>
                    <a:pt x="31923" y="518082"/>
                    <a:pt x="71298" y="518082"/>
                  </a:cubicBezTo>
                  <a:cubicBezTo>
                    <a:pt x="110674" y="518082"/>
                    <a:pt x="142596" y="486169"/>
                    <a:pt x="142596" y="446783"/>
                  </a:cubicBezTo>
                  <a:lnTo>
                    <a:pt x="142596" y="71298"/>
                  </a:lnTo>
                  <a:cubicBezTo>
                    <a:pt x="142596" y="31913"/>
                    <a:pt x="110674" y="0"/>
                    <a:pt x="71298" y="0"/>
                  </a:cubicBezTo>
                  <a:close/>
                </a:path>
              </a:pathLst>
            </a:custGeom>
            <a:solidFill>
              <a:srgbClr val="000000"/>
            </a:solidFill>
            <a:ln w="9506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69" name="Frihandsfigur: Form 468">
              <a:extLst>
                <a:ext uri="{FF2B5EF4-FFF2-40B4-BE49-F238E27FC236}">
                  <a16:creationId xmlns:a16="http://schemas.microsoft.com/office/drawing/2014/main" id="{7FFCBD91-D02B-5A63-0C51-7BC2AA3D3AF0}"/>
                </a:ext>
              </a:extLst>
            </p:cNvPr>
            <p:cNvSpPr/>
            <p:nvPr/>
          </p:nvSpPr>
          <p:spPr>
            <a:xfrm>
              <a:off x="7995219" y="2480325"/>
              <a:ext cx="38050" cy="138245"/>
            </a:xfrm>
            <a:custGeom>
              <a:avLst/>
              <a:gdLst>
                <a:gd name="connsiteX0" fmla="*/ 71298 w 142596"/>
                <a:gd name="connsiteY0" fmla="*/ 0 h 518081"/>
                <a:gd name="connsiteX1" fmla="*/ 0 w 142596"/>
                <a:gd name="connsiteY1" fmla="*/ 71298 h 518081"/>
                <a:gd name="connsiteX2" fmla="*/ 0 w 142596"/>
                <a:gd name="connsiteY2" fmla="*/ 446783 h 518081"/>
                <a:gd name="connsiteX3" fmla="*/ 71298 w 142596"/>
                <a:gd name="connsiteY3" fmla="*/ 518082 h 518081"/>
                <a:gd name="connsiteX4" fmla="*/ 142596 w 142596"/>
                <a:gd name="connsiteY4" fmla="*/ 446783 h 518081"/>
                <a:gd name="connsiteX5" fmla="*/ 142596 w 142596"/>
                <a:gd name="connsiteY5" fmla="*/ 71298 h 518081"/>
                <a:gd name="connsiteX6" fmla="*/ 71298 w 142596"/>
                <a:gd name="connsiteY6" fmla="*/ 0 h 518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596" h="518081">
                  <a:moveTo>
                    <a:pt x="71298" y="0"/>
                  </a:moveTo>
                  <a:cubicBezTo>
                    <a:pt x="31923" y="0"/>
                    <a:pt x="0" y="31913"/>
                    <a:pt x="0" y="71298"/>
                  </a:cubicBezTo>
                  <a:lnTo>
                    <a:pt x="0" y="446783"/>
                  </a:lnTo>
                  <a:cubicBezTo>
                    <a:pt x="0" y="486169"/>
                    <a:pt x="31923" y="518082"/>
                    <a:pt x="71298" y="518082"/>
                  </a:cubicBezTo>
                  <a:cubicBezTo>
                    <a:pt x="110674" y="518082"/>
                    <a:pt x="142596" y="486169"/>
                    <a:pt x="142596" y="446783"/>
                  </a:cubicBezTo>
                  <a:lnTo>
                    <a:pt x="142596" y="71298"/>
                  </a:lnTo>
                  <a:cubicBezTo>
                    <a:pt x="142596" y="31913"/>
                    <a:pt x="110674" y="0"/>
                    <a:pt x="71298" y="0"/>
                  </a:cubicBezTo>
                  <a:close/>
                </a:path>
              </a:pathLst>
            </a:custGeom>
            <a:solidFill>
              <a:srgbClr val="000000"/>
            </a:solidFill>
            <a:ln w="9506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70" name="Frihandsfigur: Form 469">
              <a:extLst>
                <a:ext uri="{FF2B5EF4-FFF2-40B4-BE49-F238E27FC236}">
                  <a16:creationId xmlns:a16="http://schemas.microsoft.com/office/drawing/2014/main" id="{65118E5C-FF99-16F0-0FFF-981B05858CC6}"/>
                </a:ext>
              </a:extLst>
            </p:cNvPr>
            <p:cNvSpPr/>
            <p:nvPr/>
          </p:nvSpPr>
          <p:spPr>
            <a:xfrm>
              <a:off x="7220062" y="1660937"/>
              <a:ext cx="1261171" cy="977846"/>
            </a:xfrm>
            <a:custGeom>
              <a:avLst/>
              <a:gdLst>
                <a:gd name="connsiteX0" fmla="*/ 4361637 w 4726311"/>
                <a:gd name="connsiteY0" fmla="*/ 2821789 h 3664534"/>
                <a:gd name="connsiteX1" fmla="*/ 4122902 w 4726311"/>
                <a:gd name="connsiteY1" fmla="*/ 2726012 h 3664534"/>
                <a:gd name="connsiteX2" fmla="*/ 4122902 w 4726311"/>
                <a:gd name="connsiteY2" fmla="*/ 2665038 h 3664534"/>
                <a:gd name="connsiteX3" fmla="*/ 4247256 w 4726311"/>
                <a:gd name="connsiteY3" fmla="*/ 2565096 h 3664534"/>
                <a:gd name="connsiteX4" fmla="*/ 4636287 w 4726311"/>
                <a:gd name="connsiteY4" fmla="*/ 2401367 h 3664534"/>
                <a:gd name="connsiteX5" fmla="*/ 4690132 w 4726311"/>
                <a:gd name="connsiteY5" fmla="*/ 1969033 h 3664534"/>
                <a:gd name="connsiteX6" fmla="*/ 4582928 w 4726311"/>
                <a:gd name="connsiteY6" fmla="*/ 1721847 h 3664534"/>
                <a:gd name="connsiteX7" fmla="*/ 4566434 w 4726311"/>
                <a:gd name="connsiteY7" fmla="*/ 1663639 h 3664534"/>
                <a:gd name="connsiteX8" fmla="*/ 4340485 w 4726311"/>
                <a:gd name="connsiteY8" fmla="*/ 1249919 h 3664534"/>
                <a:gd name="connsiteX9" fmla="*/ 3898807 w 4726311"/>
                <a:gd name="connsiteY9" fmla="*/ 1085192 h 3664534"/>
                <a:gd name="connsiteX10" fmla="*/ 3457128 w 4726311"/>
                <a:gd name="connsiteY10" fmla="*/ 1249919 h 3664534"/>
                <a:gd name="connsiteX11" fmla="*/ 3231179 w 4726311"/>
                <a:gd name="connsiteY11" fmla="*/ 1663639 h 3664534"/>
                <a:gd name="connsiteX12" fmla="*/ 3214686 w 4726311"/>
                <a:gd name="connsiteY12" fmla="*/ 1721847 h 3664534"/>
                <a:gd name="connsiteX13" fmla="*/ 3107491 w 4726311"/>
                <a:gd name="connsiteY13" fmla="*/ 1969033 h 3664534"/>
                <a:gd name="connsiteX14" fmla="*/ 3161336 w 4726311"/>
                <a:gd name="connsiteY14" fmla="*/ 2401367 h 3664534"/>
                <a:gd name="connsiteX15" fmla="*/ 3498386 w 4726311"/>
                <a:gd name="connsiteY15" fmla="*/ 2568423 h 3664534"/>
                <a:gd name="connsiteX16" fmla="*/ 3549778 w 4726311"/>
                <a:gd name="connsiteY16" fmla="*/ 2565391 h 3664534"/>
                <a:gd name="connsiteX17" fmla="*/ 3661564 w 4726311"/>
                <a:gd name="connsiteY17" fmla="*/ 2658193 h 3664534"/>
                <a:gd name="connsiteX18" fmla="*/ 3661564 w 4726311"/>
                <a:gd name="connsiteY18" fmla="*/ 2726002 h 3664534"/>
                <a:gd name="connsiteX19" fmla="*/ 3422839 w 4726311"/>
                <a:gd name="connsiteY19" fmla="*/ 2821789 h 3664534"/>
                <a:gd name="connsiteX20" fmla="*/ 3377274 w 4726311"/>
                <a:gd name="connsiteY20" fmla="*/ 2842912 h 3664534"/>
                <a:gd name="connsiteX21" fmla="*/ 3183077 w 4726311"/>
                <a:gd name="connsiteY21" fmla="*/ 2627221 h 3664534"/>
                <a:gd name="connsiteX22" fmla="*/ 2872131 w 4726311"/>
                <a:gd name="connsiteY22" fmla="*/ 2413374 h 3664534"/>
                <a:gd name="connsiteX23" fmla="*/ 2826234 w 4726311"/>
                <a:gd name="connsiteY23" fmla="*/ 2307405 h 3664534"/>
                <a:gd name="connsiteX24" fmla="*/ 2699884 w 4726311"/>
                <a:gd name="connsiteY24" fmla="*/ 2200192 h 3664534"/>
                <a:gd name="connsiteX25" fmla="*/ 2660223 w 4726311"/>
                <a:gd name="connsiteY25" fmla="*/ 2177120 h 3664534"/>
                <a:gd name="connsiteX26" fmla="*/ 2660223 w 4726311"/>
                <a:gd name="connsiteY26" fmla="*/ 2032774 h 3664534"/>
                <a:gd name="connsiteX27" fmla="*/ 2916241 w 4726311"/>
                <a:gd name="connsiteY27" fmla="*/ 1619225 h 3664534"/>
                <a:gd name="connsiteX28" fmla="*/ 2923846 w 4726311"/>
                <a:gd name="connsiteY28" fmla="*/ 1619225 h 3664534"/>
                <a:gd name="connsiteX29" fmla="*/ 3170386 w 4726311"/>
                <a:gd name="connsiteY29" fmla="*/ 1372695 h 3664534"/>
                <a:gd name="connsiteX30" fmla="*/ 3116494 w 4726311"/>
                <a:gd name="connsiteY30" fmla="*/ 1219109 h 3664534"/>
                <a:gd name="connsiteX31" fmla="*/ 3167458 w 4726311"/>
                <a:gd name="connsiteY31" fmla="*/ 856809 h 3664534"/>
                <a:gd name="connsiteX32" fmla="*/ 2760963 w 4726311"/>
                <a:gd name="connsiteY32" fmla="*/ 312785 h 3664534"/>
                <a:gd name="connsiteX33" fmla="*/ 2750819 w 4726311"/>
                <a:gd name="connsiteY33" fmla="*/ 311283 h 3664534"/>
                <a:gd name="connsiteX34" fmla="*/ 2383177 w 4726311"/>
                <a:gd name="connsiteY34" fmla="*/ 32944 h 3664534"/>
                <a:gd name="connsiteX35" fmla="*/ 2364516 w 4726311"/>
                <a:gd name="connsiteY35" fmla="*/ 27649 h 3664534"/>
                <a:gd name="connsiteX36" fmla="*/ 1761352 w 4726311"/>
                <a:gd name="connsiteY36" fmla="*/ 123103 h 3664534"/>
                <a:gd name="connsiteX37" fmla="*/ 1741731 w 4726311"/>
                <a:gd name="connsiteY37" fmla="*/ 221998 h 3664534"/>
                <a:gd name="connsiteX38" fmla="*/ 1840636 w 4726311"/>
                <a:gd name="connsiteY38" fmla="*/ 241610 h 3664534"/>
                <a:gd name="connsiteX39" fmla="*/ 2325616 w 4726311"/>
                <a:gd name="connsiteY39" fmla="*/ 164836 h 3664534"/>
                <a:gd name="connsiteX40" fmla="*/ 2344277 w 4726311"/>
                <a:gd name="connsiteY40" fmla="*/ 170131 h 3664534"/>
                <a:gd name="connsiteX41" fmla="*/ 2644110 w 4726311"/>
                <a:gd name="connsiteY41" fmla="*/ 411499 h 3664534"/>
                <a:gd name="connsiteX42" fmla="*/ 2701633 w 4726311"/>
                <a:gd name="connsiteY42" fmla="*/ 673192 h 3664534"/>
                <a:gd name="connsiteX43" fmla="*/ 2653302 w 4726311"/>
                <a:gd name="connsiteY43" fmla="*/ 631649 h 3664534"/>
                <a:gd name="connsiteX44" fmla="*/ 2498861 w 4726311"/>
                <a:gd name="connsiteY44" fmla="*/ 629273 h 3664534"/>
                <a:gd name="connsiteX45" fmla="*/ 2435463 w 4726311"/>
                <a:gd name="connsiteY45" fmla="*/ 680484 h 3664534"/>
                <a:gd name="connsiteX46" fmla="*/ 2073562 w 4726311"/>
                <a:gd name="connsiteY46" fmla="*/ 680484 h 3664534"/>
                <a:gd name="connsiteX47" fmla="*/ 1647665 w 4726311"/>
                <a:gd name="connsiteY47" fmla="*/ 1106382 h 3664534"/>
                <a:gd name="connsiteX48" fmla="*/ 1647665 w 4726311"/>
                <a:gd name="connsiteY48" fmla="*/ 1126184 h 3664534"/>
                <a:gd name="connsiteX49" fmla="*/ 1592689 w 4726311"/>
                <a:gd name="connsiteY49" fmla="*/ 1132629 h 3664534"/>
                <a:gd name="connsiteX50" fmla="*/ 1655964 w 4726311"/>
                <a:gd name="connsiteY50" fmla="*/ 440912 h 3664534"/>
                <a:gd name="connsiteX51" fmla="*/ 1630011 w 4726311"/>
                <a:gd name="connsiteY51" fmla="*/ 343471 h 3664534"/>
                <a:gd name="connsiteX52" fmla="*/ 1532580 w 4726311"/>
                <a:gd name="connsiteY52" fmla="*/ 369424 h 3664534"/>
                <a:gd name="connsiteX53" fmla="*/ 1467641 w 4726311"/>
                <a:gd name="connsiteY53" fmla="*/ 1205467 h 3664534"/>
                <a:gd name="connsiteX54" fmla="*/ 1402047 w 4726311"/>
                <a:gd name="connsiteY54" fmla="*/ 1372695 h 3664534"/>
                <a:gd name="connsiteX55" fmla="*/ 1648587 w 4726311"/>
                <a:gd name="connsiteY55" fmla="*/ 1619225 h 3664534"/>
                <a:gd name="connsiteX56" fmla="*/ 1656192 w 4726311"/>
                <a:gd name="connsiteY56" fmla="*/ 1619225 h 3664534"/>
                <a:gd name="connsiteX57" fmla="*/ 1912209 w 4726311"/>
                <a:gd name="connsiteY57" fmla="*/ 2032774 h 3664534"/>
                <a:gd name="connsiteX58" fmla="*/ 1912209 w 4726311"/>
                <a:gd name="connsiteY58" fmla="*/ 2177120 h 3664534"/>
                <a:gd name="connsiteX59" fmla="*/ 1872558 w 4726311"/>
                <a:gd name="connsiteY59" fmla="*/ 2200182 h 3664534"/>
                <a:gd name="connsiteX60" fmla="*/ 1746199 w 4726311"/>
                <a:gd name="connsiteY60" fmla="*/ 2307405 h 3664534"/>
                <a:gd name="connsiteX61" fmla="*/ 1700302 w 4726311"/>
                <a:gd name="connsiteY61" fmla="*/ 2413374 h 3664534"/>
                <a:gd name="connsiteX62" fmla="*/ 1389356 w 4726311"/>
                <a:gd name="connsiteY62" fmla="*/ 2627221 h 3664534"/>
                <a:gd name="connsiteX63" fmla="*/ 1230075 w 4726311"/>
                <a:gd name="connsiteY63" fmla="*/ 2786054 h 3664534"/>
                <a:gd name="connsiteX64" fmla="*/ 1144232 w 4726311"/>
                <a:gd name="connsiteY64" fmla="*/ 2747363 h 3664534"/>
                <a:gd name="connsiteX65" fmla="*/ 933113 w 4726311"/>
                <a:gd name="connsiteY65" fmla="*/ 2672585 h 3664534"/>
                <a:gd name="connsiteX66" fmla="*/ 933113 w 4726311"/>
                <a:gd name="connsiteY66" fmla="*/ 2616393 h 3664534"/>
                <a:gd name="connsiteX67" fmla="*/ 1139489 w 4726311"/>
                <a:gd name="connsiteY67" fmla="*/ 2309801 h 3664534"/>
                <a:gd name="connsiteX68" fmla="*/ 1171392 w 4726311"/>
                <a:gd name="connsiteY68" fmla="*/ 2309801 h 3664534"/>
                <a:gd name="connsiteX69" fmla="*/ 1398254 w 4726311"/>
                <a:gd name="connsiteY69" fmla="*/ 2082949 h 3664534"/>
                <a:gd name="connsiteX70" fmla="*/ 1343772 w 4726311"/>
                <a:gd name="connsiteY70" fmla="*/ 1935713 h 3664534"/>
                <a:gd name="connsiteX71" fmla="*/ 1356501 w 4726311"/>
                <a:gd name="connsiteY71" fmla="*/ 1785027 h 3664534"/>
                <a:gd name="connsiteX72" fmla="*/ 1103212 w 4726311"/>
                <a:gd name="connsiteY72" fmla="*/ 1234462 h 3664534"/>
                <a:gd name="connsiteX73" fmla="*/ 501132 w 4726311"/>
                <a:gd name="connsiteY73" fmla="*/ 1165198 h 3664534"/>
                <a:gd name="connsiteX74" fmla="*/ 359020 w 4726311"/>
                <a:gd name="connsiteY74" fmla="*/ 1224946 h 3664534"/>
                <a:gd name="connsiteX75" fmla="*/ 23319 w 4726311"/>
                <a:gd name="connsiteY75" fmla="*/ 1708348 h 3664534"/>
                <a:gd name="connsiteX76" fmla="*/ 55109 w 4726311"/>
                <a:gd name="connsiteY76" fmla="*/ 1934981 h 3664534"/>
                <a:gd name="connsiteX77" fmla="*/ 0 w 4726311"/>
                <a:gd name="connsiteY77" fmla="*/ 2082949 h 3664534"/>
                <a:gd name="connsiteX78" fmla="*/ 226862 w 4726311"/>
                <a:gd name="connsiteY78" fmla="*/ 2309801 h 3664534"/>
                <a:gd name="connsiteX79" fmla="*/ 258765 w 4726311"/>
                <a:gd name="connsiteY79" fmla="*/ 2309801 h 3664534"/>
                <a:gd name="connsiteX80" fmla="*/ 444625 w 4726311"/>
                <a:gd name="connsiteY80" fmla="*/ 2602875 h 3664534"/>
                <a:gd name="connsiteX81" fmla="*/ 444625 w 4726311"/>
                <a:gd name="connsiteY81" fmla="*/ 2672585 h 3664534"/>
                <a:gd name="connsiteX82" fmla="*/ 233507 w 4726311"/>
                <a:gd name="connsiteY82" fmla="*/ 2747354 h 3664534"/>
                <a:gd name="connsiteX83" fmla="*/ 146941 w 4726311"/>
                <a:gd name="connsiteY83" fmla="*/ 2786368 h 3664534"/>
                <a:gd name="connsiteX84" fmla="*/ 119040 w 4726311"/>
                <a:gd name="connsiteY84" fmla="*/ 2883258 h 3664534"/>
                <a:gd name="connsiteX85" fmla="*/ 181497 w 4726311"/>
                <a:gd name="connsiteY85" fmla="*/ 2920067 h 3664534"/>
                <a:gd name="connsiteX86" fmla="*/ 215929 w 4726311"/>
                <a:gd name="connsiteY86" fmla="*/ 2911149 h 3664534"/>
                <a:gd name="connsiteX87" fmla="*/ 281096 w 4726311"/>
                <a:gd name="connsiteY87" fmla="*/ 2881765 h 3664534"/>
                <a:gd name="connsiteX88" fmla="*/ 463524 w 4726311"/>
                <a:gd name="connsiteY88" fmla="*/ 2817150 h 3664534"/>
                <a:gd name="connsiteX89" fmla="*/ 688855 w 4726311"/>
                <a:gd name="connsiteY89" fmla="*/ 2967199 h 3664534"/>
                <a:gd name="connsiteX90" fmla="*/ 914186 w 4726311"/>
                <a:gd name="connsiteY90" fmla="*/ 2817150 h 3664534"/>
                <a:gd name="connsiteX91" fmla="*/ 1096615 w 4726311"/>
                <a:gd name="connsiteY91" fmla="*/ 2881775 h 3664534"/>
                <a:gd name="connsiteX92" fmla="*/ 1162941 w 4726311"/>
                <a:gd name="connsiteY92" fmla="*/ 2911862 h 3664534"/>
                <a:gd name="connsiteX93" fmla="*/ 1119440 w 4726311"/>
                <a:gd name="connsiteY93" fmla="*/ 3140406 h 3664534"/>
                <a:gd name="connsiteX94" fmla="*/ 1119440 w 4726311"/>
                <a:gd name="connsiteY94" fmla="*/ 3563386 h 3664534"/>
                <a:gd name="connsiteX95" fmla="*/ 1190738 w 4726311"/>
                <a:gd name="connsiteY95" fmla="*/ 3634684 h 3664534"/>
                <a:gd name="connsiteX96" fmla="*/ 1262036 w 4726311"/>
                <a:gd name="connsiteY96" fmla="*/ 3563386 h 3664534"/>
                <a:gd name="connsiteX97" fmla="*/ 1262036 w 4726311"/>
                <a:gd name="connsiteY97" fmla="*/ 3140406 h 3664534"/>
                <a:gd name="connsiteX98" fmla="*/ 1470141 w 4726311"/>
                <a:gd name="connsiteY98" fmla="*/ 2744720 h 3664534"/>
                <a:gd name="connsiteX99" fmla="*/ 1767084 w 4726311"/>
                <a:gd name="connsiteY99" fmla="*/ 2540503 h 3664534"/>
                <a:gd name="connsiteX100" fmla="*/ 1888795 w 4726311"/>
                <a:gd name="connsiteY100" fmla="*/ 2703234 h 3664534"/>
                <a:gd name="connsiteX101" fmla="*/ 1998290 w 4726311"/>
                <a:gd name="connsiteY101" fmla="*/ 2757925 h 3664534"/>
                <a:gd name="connsiteX102" fmla="*/ 2037789 w 4726311"/>
                <a:gd name="connsiteY102" fmla="*/ 2752050 h 3664534"/>
                <a:gd name="connsiteX103" fmla="*/ 2214904 w 4726311"/>
                <a:gd name="connsiteY103" fmla="*/ 2698148 h 3664534"/>
                <a:gd name="connsiteX104" fmla="*/ 2214904 w 4726311"/>
                <a:gd name="connsiteY104" fmla="*/ 3593236 h 3664534"/>
                <a:gd name="connsiteX105" fmla="*/ 2286202 w 4726311"/>
                <a:gd name="connsiteY105" fmla="*/ 3664534 h 3664534"/>
                <a:gd name="connsiteX106" fmla="*/ 2357500 w 4726311"/>
                <a:gd name="connsiteY106" fmla="*/ 3593236 h 3664534"/>
                <a:gd name="connsiteX107" fmla="*/ 2357500 w 4726311"/>
                <a:gd name="connsiteY107" fmla="*/ 2698148 h 3664534"/>
                <a:gd name="connsiteX108" fmla="*/ 2534634 w 4726311"/>
                <a:gd name="connsiteY108" fmla="*/ 2752059 h 3664534"/>
                <a:gd name="connsiteX109" fmla="*/ 2574114 w 4726311"/>
                <a:gd name="connsiteY109" fmla="*/ 2757925 h 3664534"/>
                <a:gd name="connsiteX110" fmla="*/ 2683609 w 4726311"/>
                <a:gd name="connsiteY110" fmla="*/ 2703234 h 3664534"/>
                <a:gd name="connsiteX111" fmla="*/ 2805311 w 4726311"/>
                <a:gd name="connsiteY111" fmla="*/ 2540503 h 3664534"/>
                <a:gd name="connsiteX112" fmla="*/ 3102253 w 4726311"/>
                <a:gd name="connsiteY112" fmla="*/ 2744720 h 3664534"/>
                <a:gd name="connsiteX113" fmla="*/ 3310359 w 4726311"/>
                <a:gd name="connsiteY113" fmla="*/ 3140406 h 3664534"/>
                <a:gd name="connsiteX114" fmla="*/ 3310359 w 4726311"/>
                <a:gd name="connsiteY114" fmla="*/ 3563386 h 3664534"/>
                <a:gd name="connsiteX115" fmla="*/ 3381657 w 4726311"/>
                <a:gd name="connsiteY115" fmla="*/ 3634684 h 3664534"/>
                <a:gd name="connsiteX116" fmla="*/ 3452955 w 4726311"/>
                <a:gd name="connsiteY116" fmla="*/ 3563386 h 3664534"/>
                <a:gd name="connsiteX117" fmla="*/ 3452955 w 4726311"/>
                <a:gd name="connsiteY117" fmla="*/ 3140406 h 3664534"/>
                <a:gd name="connsiteX118" fmla="*/ 3430891 w 4726311"/>
                <a:gd name="connsiteY118" fmla="*/ 2976211 h 3664534"/>
                <a:gd name="connsiteX119" fmla="*/ 3475913 w 4726311"/>
                <a:gd name="connsiteY119" fmla="*/ 2954147 h 3664534"/>
                <a:gd name="connsiteX120" fmla="*/ 3682935 w 4726311"/>
                <a:gd name="connsiteY120" fmla="*/ 2871080 h 3664534"/>
                <a:gd name="connsiteX121" fmla="*/ 3892228 w 4726311"/>
                <a:gd name="connsiteY121" fmla="*/ 3004921 h 3664534"/>
                <a:gd name="connsiteX122" fmla="*/ 4101522 w 4726311"/>
                <a:gd name="connsiteY122" fmla="*/ 2871089 h 3664534"/>
                <a:gd name="connsiteX123" fmla="*/ 4308553 w 4726311"/>
                <a:gd name="connsiteY123" fmla="*/ 2954147 h 3664534"/>
                <a:gd name="connsiteX124" fmla="*/ 4524045 w 4726311"/>
                <a:gd name="connsiteY124" fmla="*/ 3272784 h 3664534"/>
                <a:gd name="connsiteX125" fmla="*/ 4524045 w 4726311"/>
                <a:gd name="connsiteY125" fmla="*/ 3393468 h 3664534"/>
                <a:gd name="connsiteX126" fmla="*/ 4595343 w 4726311"/>
                <a:gd name="connsiteY126" fmla="*/ 3464766 h 3664534"/>
                <a:gd name="connsiteX127" fmla="*/ 4666642 w 4726311"/>
                <a:gd name="connsiteY127" fmla="*/ 3393468 h 3664534"/>
                <a:gd name="connsiteX128" fmla="*/ 4666642 w 4726311"/>
                <a:gd name="connsiteY128" fmla="*/ 3272784 h 3664534"/>
                <a:gd name="connsiteX129" fmla="*/ 4361637 w 4726311"/>
                <a:gd name="connsiteY129" fmla="*/ 2821789 h 3664534"/>
                <a:gd name="connsiteX130" fmla="*/ 1544615 w 4726311"/>
                <a:gd name="connsiteY130" fmla="*/ 1372685 h 3664534"/>
                <a:gd name="connsiteX131" fmla="*/ 1647636 w 4726311"/>
                <a:gd name="connsiteY131" fmla="*/ 1268790 h 3664534"/>
                <a:gd name="connsiteX132" fmla="*/ 1647636 w 4726311"/>
                <a:gd name="connsiteY132" fmla="*/ 1476562 h 3664534"/>
                <a:gd name="connsiteX133" fmla="*/ 1544615 w 4726311"/>
                <a:gd name="connsiteY133" fmla="*/ 1372685 h 3664534"/>
                <a:gd name="connsiteX134" fmla="*/ 1171373 w 4726311"/>
                <a:gd name="connsiteY134" fmla="*/ 2167195 h 3664534"/>
                <a:gd name="connsiteX135" fmla="*/ 1145630 w 4726311"/>
                <a:gd name="connsiteY135" fmla="*/ 2167195 h 3664534"/>
                <a:gd name="connsiteX136" fmla="*/ 1145630 w 4726311"/>
                <a:gd name="connsiteY136" fmla="*/ 1998665 h 3664534"/>
                <a:gd name="connsiteX137" fmla="*/ 1171373 w 4726311"/>
                <a:gd name="connsiteY137" fmla="*/ 1998665 h 3664534"/>
                <a:gd name="connsiteX138" fmla="*/ 1255638 w 4726311"/>
                <a:gd name="connsiteY138" fmla="*/ 2082930 h 3664534"/>
                <a:gd name="connsiteX139" fmla="*/ 1171373 w 4726311"/>
                <a:gd name="connsiteY139" fmla="*/ 2167195 h 3664534"/>
                <a:gd name="connsiteX140" fmla="*/ 142577 w 4726311"/>
                <a:gd name="connsiteY140" fmla="*/ 2082939 h 3664534"/>
                <a:gd name="connsiteX141" fmla="*/ 226842 w 4726311"/>
                <a:gd name="connsiteY141" fmla="*/ 1998674 h 3664534"/>
                <a:gd name="connsiteX142" fmla="*/ 252586 w 4726311"/>
                <a:gd name="connsiteY142" fmla="*/ 1998674 h 3664534"/>
                <a:gd name="connsiteX143" fmla="*/ 252586 w 4726311"/>
                <a:gd name="connsiteY143" fmla="*/ 2167205 h 3664534"/>
                <a:gd name="connsiteX144" fmla="*/ 226842 w 4726311"/>
                <a:gd name="connsiteY144" fmla="*/ 2167205 h 3664534"/>
                <a:gd name="connsiteX145" fmla="*/ 142577 w 4726311"/>
                <a:gd name="connsiteY145" fmla="*/ 2082939 h 3664534"/>
                <a:gd name="connsiteX146" fmla="*/ 339180 w 4726311"/>
                <a:gd name="connsiteY146" fmla="*/ 1636299 h 3664534"/>
                <a:gd name="connsiteX147" fmla="*/ 255105 w 4726311"/>
                <a:gd name="connsiteY147" fmla="*/ 1856068 h 3664534"/>
                <a:gd name="connsiteX148" fmla="*/ 226842 w 4726311"/>
                <a:gd name="connsiteY148" fmla="*/ 1856068 h 3664534"/>
                <a:gd name="connsiteX149" fmla="*/ 188484 w 4726311"/>
                <a:gd name="connsiteY149" fmla="*/ 1859377 h 3664534"/>
                <a:gd name="connsiteX150" fmla="*/ 164518 w 4726311"/>
                <a:gd name="connsiteY150" fmla="*/ 1688518 h 3664534"/>
                <a:gd name="connsiteX151" fmla="*/ 394612 w 4726311"/>
                <a:gd name="connsiteY151" fmla="*/ 1363141 h 3664534"/>
                <a:gd name="connsiteX152" fmla="*/ 408054 w 4726311"/>
                <a:gd name="connsiteY152" fmla="*/ 1358996 h 3664534"/>
                <a:gd name="connsiteX153" fmla="*/ 556393 w 4726311"/>
                <a:gd name="connsiteY153" fmla="*/ 1296624 h 3664534"/>
                <a:gd name="connsiteX154" fmla="*/ 1019536 w 4726311"/>
                <a:gd name="connsiteY154" fmla="*/ 1349898 h 3664534"/>
                <a:gd name="connsiteX155" fmla="*/ 1214390 w 4726311"/>
                <a:gd name="connsiteY155" fmla="*/ 1773201 h 3664534"/>
                <a:gd name="connsiteX156" fmla="*/ 1207146 w 4726311"/>
                <a:gd name="connsiteY156" fmla="*/ 1858901 h 3664534"/>
                <a:gd name="connsiteX157" fmla="*/ 1171373 w 4726311"/>
                <a:gd name="connsiteY157" fmla="*/ 1856059 h 3664534"/>
                <a:gd name="connsiteX158" fmla="*/ 1145002 w 4726311"/>
                <a:gd name="connsiteY158" fmla="*/ 1856059 h 3664534"/>
                <a:gd name="connsiteX159" fmla="*/ 1025621 w 4726311"/>
                <a:gd name="connsiteY159" fmla="*/ 1748266 h 3664534"/>
                <a:gd name="connsiteX160" fmla="*/ 849561 w 4726311"/>
                <a:gd name="connsiteY160" fmla="*/ 1748266 h 3664534"/>
                <a:gd name="connsiteX161" fmla="*/ 499953 w 4726311"/>
                <a:gd name="connsiteY161" fmla="*/ 1630690 h 3664534"/>
                <a:gd name="connsiteX162" fmla="*/ 479780 w 4726311"/>
                <a:gd name="connsiteY162" fmla="*/ 1615394 h 3664534"/>
                <a:gd name="connsiteX163" fmla="*/ 405088 w 4726311"/>
                <a:gd name="connsiteY163" fmla="*/ 1596267 h 3664534"/>
                <a:gd name="connsiteX164" fmla="*/ 339180 w 4726311"/>
                <a:gd name="connsiteY164" fmla="*/ 1636299 h 3664534"/>
                <a:gd name="connsiteX165" fmla="*/ 454674 w 4726311"/>
                <a:gd name="connsiteY165" fmla="*/ 1719936 h 3664534"/>
                <a:gd name="connsiteX166" fmla="*/ 454636 w 4726311"/>
                <a:gd name="connsiteY166" fmla="*/ 1720003 h 3664534"/>
                <a:gd name="connsiteX167" fmla="*/ 454674 w 4726311"/>
                <a:gd name="connsiteY167" fmla="*/ 1719936 h 3664534"/>
                <a:gd name="connsiteX168" fmla="*/ 395192 w 4726311"/>
                <a:gd name="connsiteY168" fmla="*/ 1903525 h 3664534"/>
                <a:gd name="connsiteX169" fmla="*/ 431411 w 4726311"/>
                <a:gd name="connsiteY169" fmla="*/ 1757259 h 3664534"/>
                <a:gd name="connsiteX170" fmla="*/ 849571 w 4726311"/>
                <a:gd name="connsiteY170" fmla="*/ 1890881 h 3664534"/>
                <a:gd name="connsiteX171" fmla="*/ 1003033 w 4726311"/>
                <a:gd name="connsiteY171" fmla="*/ 1890881 h 3664534"/>
                <a:gd name="connsiteX172" fmla="*/ 1003033 w 4726311"/>
                <a:gd name="connsiteY172" fmla="*/ 2236288 h 3664534"/>
                <a:gd name="connsiteX173" fmla="*/ 699113 w 4726311"/>
                <a:gd name="connsiteY173" fmla="*/ 2540218 h 3664534"/>
                <a:gd name="connsiteX174" fmla="*/ 395192 w 4726311"/>
                <a:gd name="connsiteY174" fmla="*/ 2236288 h 3664534"/>
                <a:gd name="connsiteX175" fmla="*/ 688846 w 4726311"/>
                <a:gd name="connsiteY175" fmla="*/ 2824603 h 3664534"/>
                <a:gd name="connsiteX176" fmla="*/ 587203 w 4726311"/>
                <a:gd name="connsiteY176" fmla="*/ 2722960 h 3664534"/>
                <a:gd name="connsiteX177" fmla="*/ 587203 w 4726311"/>
                <a:gd name="connsiteY177" fmla="*/ 2668602 h 3664534"/>
                <a:gd name="connsiteX178" fmla="*/ 699113 w 4726311"/>
                <a:gd name="connsiteY178" fmla="*/ 2682815 h 3664534"/>
                <a:gd name="connsiteX179" fmla="*/ 790498 w 4726311"/>
                <a:gd name="connsiteY179" fmla="*/ 2673375 h 3664534"/>
                <a:gd name="connsiteX180" fmla="*/ 790498 w 4726311"/>
                <a:gd name="connsiteY180" fmla="*/ 2722960 h 3664534"/>
                <a:gd name="connsiteX181" fmla="*/ 688846 w 4726311"/>
                <a:gd name="connsiteY181" fmla="*/ 2824603 h 3664534"/>
                <a:gd name="connsiteX182" fmla="*/ 2924740 w 4726311"/>
                <a:gd name="connsiteY182" fmla="*/ 1476562 h 3664534"/>
                <a:gd name="connsiteX183" fmla="*/ 2924740 w 4726311"/>
                <a:gd name="connsiteY183" fmla="*/ 1268790 h 3664534"/>
                <a:gd name="connsiteX184" fmla="*/ 3027761 w 4726311"/>
                <a:gd name="connsiteY184" fmla="*/ 1372685 h 3664534"/>
                <a:gd name="connsiteX185" fmla="*/ 2924740 w 4726311"/>
                <a:gd name="connsiteY185" fmla="*/ 1476562 h 3664534"/>
                <a:gd name="connsiteX186" fmla="*/ 3026221 w 4726311"/>
                <a:gd name="connsiteY186" fmla="*/ 836922 h 3664534"/>
                <a:gd name="connsiteX187" fmla="*/ 2984469 w 4726311"/>
                <a:gd name="connsiteY187" fmla="*/ 1133713 h 3664534"/>
                <a:gd name="connsiteX188" fmla="*/ 2924730 w 4726311"/>
                <a:gd name="connsiteY188" fmla="*/ 1126165 h 3664534"/>
                <a:gd name="connsiteX189" fmla="*/ 2924730 w 4726311"/>
                <a:gd name="connsiteY189" fmla="*/ 1120394 h 3664534"/>
                <a:gd name="connsiteX190" fmla="*/ 2824789 w 4726311"/>
                <a:gd name="connsiteY190" fmla="*/ 802480 h 3664534"/>
                <a:gd name="connsiteX191" fmla="*/ 2822812 w 4726311"/>
                <a:gd name="connsiteY191" fmla="*/ 477227 h 3664534"/>
                <a:gd name="connsiteX192" fmla="*/ 3026221 w 4726311"/>
                <a:gd name="connsiteY192" fmla="*/ 836922 h 3664534"/>
                <a:gd name="connsiteX193" fmla="*/ 1790242 w 4726311"/>
                <a:gd name="connsiteY193" fmla="*/ 1515691 h 3664534"/>
                <a:gd name="connsiteX194" fmla="*/ 1790242 w 4726311"/>
                <a:gd name="connsiteY194" fmla="*/ 1106363 h 3664534"/>
                <a:gd name="connsiteX195" fmla="*/ 2073543 w 4726311"/>
                <a:gd name="connsiteY195" fmla="*/ 823061 h 3664534"/>
                <a:gd name="connsiteX196" fmla="*/ 2460645 w 4726311"/>
                <a:gd name="connsiteY196" fmla="*/ 823061 h 3664534"/>
                <a:gd name="connsiteX197" fmla="*/ 2505440 w 4726311"/>
                <a:gd name="connsiteY197" fmla="*/ 807233 h 3664534"/>
                <a:gd name="connsiteX198" fmla="*/ 2574200 w 4726311"/>
                <a:gd name="connsiteY198" fmla="*/ 751687 h 3664534"/>
                <a:gd name="connsiteX199" fmla="*/ 2638073 w 4726311"/>
                <a:gd name="connsiteY199" fmla="*/ 806587 h 3664534"/>
                <a:gd name="connsiteX200" fmla="*/ 2782134 w 4726311"/>
                <a:gd name="connsiteY200" fmla="*/ 1120394 h 3664534"/>
                <a:gd name="connsiteX201" fmla="*/ 2782134 w 4726311"/>
                <a:gd name="connsiteY201" fmla="*/ 1515681 h 3664534"/>
                <a:gd name="connsiteX202" fmla="*/ 2286183 w 4726311"/>
                <a:gd name="connsiteY202" fmla="*/ 2011632 h 3664534"/>
                <a:gd name="connsiteX203" fmla="*/ 1790242 w 4726311"/>
                <a:gd name="connsiteY203" fmla="*/ 1515691 h 3664534"/>
                <a:gd name="connsiteX204" fmla="*/ 2286193 w 4726311"/>
                <a:gd name="connsiteY204" fmla="*/ 2154238 h 3664534"/>
                <a:gd name="connsiteX205" fmla="*/ 2517608 w 4726311"/>
                <a:gd name="connsiteY205" fmla="*/ 2110660 h 3664534"/>
                <a:gd name="connsiteX206" fmla="*/ 2517608 w 4726311"/>
                <a:gd name="connsiteY206" fmla="*/ 2202017 h 3664534"/>
                <a:gd name="connsiteX207" fmla="*/ 2286193 w 4726311"/>
                <a:gd name="connsiteY207" fmla="*/ 2315486 h 3664534"/>
                <a:gd name="connsiteX208" fmla="*/ 2054778 w 4726311"/>
                <a:gd name="connsiteY208" fmla="*/ 2202017 h 3664534"/>
                <a:gd name="connsiteX209" fmla="*/ 2054778 w 4726311"/>
                <a:gd name="connsiteY209" fmla="*/ 2110660 h 3664534"/>
                <a:gd name="connsiteX210" fmla="*/ 2286193 w 4726311"/>
                <a:gd name="connsiteY210" fmla="*/ 2154238 h 3664534"/>
                <a:gd name="connsiteX211" fmla="*/ 2000391 w 4726311"/>
                <a:gd name="connsiteY211" fmla="*/ 2614359 h 3664534"/>
                <a:gd name="connsiteX212" fmla="*/ 1846805 w 4726311"/>
                <a:gd name="connsiteY212" fmla="*/ 2409010 h 3664534"/>
                <a:gd name="connsiteX213" fmla="*/ 1958953 w 4726311"/>
                <a:gd name="connsiteY213" fmla="*/ 2313841 h 3664534"/>
                <a:gd name="connsiteX214" fmla="*/ 2214885 w 4726311"/>
                <a:gd name="connsiteY214" fmla="*/ 2439326 h 3664534"/>
                <a:gd name="connsiteX215" fmla="*/ 2214885 w 4726311"/>
                <a:gd name="connsiteY215" fmla="*/ 2549078 h 3664534"/>
                <a:gd name="connsiteX216" fmla="*/ 2571985 w 4726311"/>
                <a:gd name="connsiteY216" fmla="*/ 2614359 h 3664534"/>
                <a:gd name="connsiteX217" fmla="*/ 2357491 w 4726311"/>
                <a:gd name="connsiteY217" fmla="*/ 2549087 h 3664534"/>
                <a:gd name="connsiteX218" fmla="*/ 2357491 w 4726311"/>
                <a:gd name="connsiteY218" fmla="*/ 2439336 h 3664534"/>
                <a:gd name="connsiteX219" fmla="*/ 2613423 w 4726311"/>
                <a:gd name="connsiteY219" fmla="*/ 2313851 h 3664534"/>
                <a:gd name="connsiteX220" fmla="*/ 2725571 w 4726311"/>
                <a:gd name="connsiteY220" fmla="*/ 2409020 h 3664534"/>
                <a:gd name="connsiteX221" fmla="*/ 3274234 w 4726311"/>
                <a:gd name="connsiteY221" fmla="*/ 2314279 h 3664534"/>
                <a:gd name="connsiteX222" fmla="*/ 3238309 w 4726311"/>
                <a:gd name="connsiteY222" fmla="*/ 2025777 h 3664534"/>
                <a:gd name="connsiteX223" fmla="*/ 3345504 w 4726311"/>
                <a:gd name="connsiteY223" fmla="*/ 1778591 h 3664534"/>
                <a:gd name="connsiteX224" fmla="*/ 3372312 w 4726311"/>
                <a:gd name="connsiteY224" fmla="*/ 1683954 h 3664534"/>
                <a:gd name="connsiteX225" fmla="*/ 3898807 w 4726311"/>
                <a:gd name="connsiteY225" fmla="*/ 1227798 h 3664534"/>
                <a:gd name="connsiteX226" fmla="*/ 4425292 w 4726311"/>
                <a:gd name="connsiteY226" fmla="*/ 1683954 h 3664534"/>
                <a:gd name="connsiteX227" fmla="*/ 4452100 w 4726311"/>
                <a:gd name="connsiteY227" fmla="*/ 1778591 h 3664534"/>
                <a:gd name="connsiteX228" fmla="*/ 4559295 w 4726311"/>
                <a:gd name="connsiteY228" fmla="*/ 2025777 h 3664534"/>
                <a:gd name="connsiteX229" fmla="*/ 4523370 w 4726311"/>
                <a:gd name="connsiteY229" fmla="*/ 2314279 h 3664534"/>
                <a:gd name="connsiteX230" fmla="*/ 4333498 w 4726311"/>
                <a:gd name="connsiteY230" fmla="*/ 2423545 h 3664534"/>
                <a:gd name="connsiteX231" fmla="*/ 4362540 w 4726311"/>
                <a:gd name="connsiteY231" fmla="*/ 2296815 h 3664534"/>
                <a:gd name="connsiteX232" fmla="*/ 4297374 w 4726311"/>
                <a:gd name="connsiteY232" fmla="*/ 2219870 h 3664534"/>
                <a:gd name="connsiteX233" fmla="*/ 4220429 w 4726311"/>
                <a:gd name="connsiteY233" fmla="*/ 2285037 h 3664534"/>
                <a:gd name="connsiteX234" fmla="*/ 3898807 w 4726311"/>
                <a:gd name="connsiteY234" fmla="*/ 2580820 h 3664534"/>
                <a:gd name="connsiteX235" fmla="*/ 3575959 w 4726311"/>
                <a:gd name="connsiteY235" fmla="*/ 2257972 h 3664534"/>
                <a:gd name="connsiteX236" fmla="*/ 3575959 w 4726311"/>
                <a:gd name="connsiteY236" fmla="*/ 1915940 h 3664534"/>
                <a:gd name="connsiteX237" fmla="*/ 3639395 w 4726311"/>
                <a:gd name="connsiteY237" fmla="*/ 1702197 h 3664534"/>
                <a:gd name="connsiteX238" fmla="*/ 3961549 w 4726311"/>
                <a:gd name="connsiteY238" fmla="*/ 1815970 h 3664534"/>
                <a:gd name="connsiteX239" fmla="*/ 4221655 w 4726311"/>
                <a:gd name="connsiteY239" fmla="*/ 1822834 h 3664534"/>
                <a:gd name="connsiteX240" fmla="*/ 4221655 w 4726311"/>
                <a:gd name="connsiteY240" fmla="*/ 1987067 h 3664534"/>
                <a:gd name="connsiteX241" fmla="*/ 4292953 w 4726311"/>
                <a:gd name="connsiteY241" fmla="*/ 2058365 h 3664534"/>
                <a:gd name="connsiteX242" fmla="*/ 4364251 w 4726311"/>
                <a:gd name="connsiteY242" fmla="*/ 1987067 h 3664534"/>
                <a:gd name="connsiteX243" fmla="*/ 4364251 w 4726311"/>
                <a:gd name="connsiteY243" fmla="*/ 1803526 h 3664534"/>
                <a:gd name="connsiteX244" fmla="*/ 4244708 w 4726311"/>
                <a:gd name="connsiteY244" fmla="*/ 1680798 h 3664534"/>
                <a:gd name="connsiteX245" fmla="*/ 3965304 w 4726311"/>
                <a:gd name="connsiteY245" fmla="*/ 1673440 h 3664534"/>
                <a:gd name="connsiteX246" fmla="*/ 3716169 w 4726311"/>
                <a:gd name="connsiteY246" fmla="*/ 1581190 h 3664534"/>
                <a:gd name="connsiteX247" fmla="*/ 3697746 w 4726311"/>
                <a:gd name="connsiteY247" fmla="*/ 1566198 h 3664534"/>
                <a:gd name="connsiteX248" fmla="*/ 3620858 w 4726311"/>
                <a:gd name="connsiteY248" fmla="*/ 1543421 h 3664534"/>
                <a:gd name="connsiteX249" fmla="*/ 3550558 w 4726311"/>
                <a:gd name="connsiteY249" fmla="*/ 1581941 h 3664534"/>
                <a:gd name="connsiteX250" fmla="*/ 3433334 w 4726311"/>
                <a:gd name="connsiteY250" fmla="*/ 1915968 h 3664534"/>
                <a:gd name="connsiteX251" fmla="*/ 3433334 w 4726311"/>
                <a:gd name="connsiteY251" fmla="*/ 2258000 h 3664534"/>
                <a:gd name="connsiteX252" fmla="*/ 3463811 w 4726311"/>
                <a:gd name="connsiteY252" fmla="*/ 2423412 h 3664534"/>
                <a:gd name="connsiteX253" fmla="*/ 3274234 w 4726311"/>
                <a:gd name="connsiteY253" fmla="*/ 2314279 h 3664534"/>
                <a:gd name="connsiteX254" fmla="*/ 3892219 w 4726311"/>
                <a:gd name="connsiteY254" fmla="*/ 2862315 h 3664534"/>
                <a:gd name="connsiteX255" fmla="*/ 3804132 w 4726311"/>
                <a:gd name="connsiteY255" fmla="*/ 2774228 h 3664534"/>
                <a:gd name="connsiteX256" fmla="*/ 3804132 w 4726311"/>
                <a:gd name="connsiteY256" fmla="*/ 2713720 h 3664534"/>
                <a:gd name="connsiteX257" fmla="*/ 3898797 w 4726311"/>
                <a:gd name="connsiteY257" fmla="*/ 2723426 h 3664534"/>
                <a:gd name="connsiteX258" fmla="*/ 3980296 w 4726311"/>
                <a:gd name="connsiteY258" fmla="*/ 2716030 h 3664534"/>
                <a:gd name="connsiteX259" fmla="*/ 3980296 w 4726311"/>
                <a:gd name="connsiteY259" fmla="*/ 2774238 h 3664534"/>
                <a:gd name="connsiteX260" fmla="*/ 3892219 w 4726311"/>
                <a:gd name="connsiteY260" fmla="*/ 2862315 h 3664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</a:cxnLst>
              <a:rect l="l" t="t" r="r" b="b"/>
              <a:pathLst>
                <a:path w="4726311" h="3664534">
                  <a:moveTo>
                    <a:pt x="4361637" y="2821789"/>
                  </a:moveTo>
                  <a:lnTo>
                    <a:pt x="4122902" y="2726012"/>
                  </a:lnTo>
                  <a:lnTo>
                    <a:pt x="4122902" y="2665038"/>
                  </a:lnTo>
                  <a:cubicBezTo>
                    <a:pt x="4169769" y="2638990"/>
                    <a:pt x="4211844" y="2605099"/>
                    <a:pt x="4247256" y="2565096"/>
                  </a:cubicBezTo>
                  <a:cubicBezTo>
                    <a:pt x="4398265" y="2582921"/>
                    <a:pt x="4542754" y="2522641"/>
                    <a:pt x="4636287" y="2401367"/>
                  </a:cubicBezTo>
                  <a:cubicBezTo>
                    <a:pt x="4733016" y="2275958"/>
                    <a:pt x="4753141" y="2114339"/>
                    <a:pt x="4690132" y="1969033"/>
                  </a:cubicBezTo>
                  <a:lnTo>
                    <a:pt x="4582928" y="1721847"/>
                  </a:lnTo>
                  <a:cubicBezTo>
                    <a:pt x="4574866" y="1703272"/>
                    <a:pt x="4569324" y="1683679"/>
                    <a:pt x="4566434" y="1663639"/>
                  </a:cubicBezTo>
                  <a:cubicBezTo>
                    <a:pt x="4543334" y="1503076"/>
                    <a:pt x="4463090" y="1356144"/>
                    <a:pt x="4340485" y="1249919"/>
                  </a:cubicBezTo>
                  <a:cubicBezTo>
                    <a:pt x="4217881" y="1143685"/>
                    <a:pt x="4061024" y="1085192"/>
                    <a:pt x="3898807" y="1085192"/>
                  </a:cubicBezTo>
                  <a:cubicBezTo>
                    <a:pt x="3736589" y="1085192"/>
                    <a:pt x="3579733" y="1143685"/>
                    <a:pt x="3457128" y="1249919"/>
                  </a:cubicBezTo>
                  <a:cubicBezTo>
                    <a:pt x="3334533" y="1356144"/>
                    <a:pt x="3254280" y="1503066"/>
                    <a:pt x="3231179" y="1663639"/>
                  </a:cubicBezTo>
                  <a:cubicBezTo>
                    <a:pt x="3228290" y="1683688"/>
                    <a:pt x="3222747" y="1703281"/>
                    <a:pt x="3214686" y="1721847"/>
                  </a:cubicBezTo>
                  <a:lnTo>
                    <a:pt x="3107491" y="1969033"/>
                  </a:lnTo>
                  <a:cubicBezTo>
                    <a:pt x="3044483" y="2114330"/>
                    <a:pt x="3064608" y="2275949"/>
                    <a:pt x="3161336" y="2401367"/>
                  </a:cubicBezTo>
                  <a:cubicBezTo>
                    <a:pt x="3244080" y="2508647"/>
                    <a:pt x="3366675" y="2568433"/>
                    <a:pt x="3498386" y="2568423"/>
                  </a:cubicBezTo>
                  <a:cubicBezTo>
                    <a:pt x="3515374" y="2568423"/>
                    <a:pt x="3532534" y="2567416"/>
                    <a:pt x="3549778" y="2565391"/>
                  </a:cubicBezTo>
                  <a:cubicBezTo>
                    <a:pt x="3581910" y="2601829"/>
                    <a:pt x="3619593" y="2633210"/>
                    <a:pt x="3661564" y="2658193"/>
                  </a:cubicBezTo>
                  <a:lnTo>
                    <a:pt x="3661564" y="2726002"/>
                  </a:lnTo>
                  <a:lnTo>
                    <a:pt x="3422839" y="2821789"/>
                  </a:lnTo>
                  <a:cubicBezTo>
                    <a:pt x="3407277" y="2828035"/>
                    <a:pt x="3392086" y="2835098"/>
                    <a:pt x="3377274" y="2842912"/>
                  </a:cubicBezTo>
                  <a:cubicBezTo>
                    <a:pt x="3331083" y="2757953"/>
                    <a:pt x="3265137" y="2683660"/>
                    <a:pt x="3183077" y="2627221"/>
                  </a:cubicBezTo>
                  <a:lnTo>
                    <a:pt x="2872131" y="2413374"/>
                  </a:lnTo>
                  <a:cubicBezTo>
                    <a:pt x="2873928" y="2374103"/>
                    <a:pt x="2858223" y="2334546"/>
                    <a:pt x="2826234" y="2307405"/>
                  </a:cubicBezTo>
                  <a:lnTo>
                    <a:pt x="2699884" y="2200192"/>
                  </a:lnTo>
                  <a:cubicBezTo>
                    <a:pt x="2687906" y="2190020"/>
                    <a:pt x="2674445" y="2182339"/>
                    <a:pt x="2660223" y="2177120"/>
                  </a:cubicBezTo>
                  <a:lnTo>
                    <a:pt x="2660223" y="2032774"/>
                  </a:lnTo>
                  <a:cubicBezTo>
                    <a:pt x="2793779" y="1935904"/>
                    <a:pt x="2888482" y="1788725"/>
                    <a:pt x="2916241" y="1619225"/>
                  </a:cubicBezTo>
                  <a:lnTo>
                    <a:pt x="2923846" y="1619225"/>
                  </a:lnTo>
                  <a:cubicBezTo>
                    <a:pt x="3059788" y="1619225"/>
                    <a:pt x="3170386" y="1508627"/>
                    <a:pt x="3170386" y="1372695"/>
                  </a:cubicBezTo>
                  <a:cubicBezTo>
                    <a:pt x="3170386" y="1314658"/>
                    <a:pt x="3150175" y="1261270"/>
                    <a:pt x="3116494" y="1219109"/>
                  </a:cubicBezTo>
                  <a:lnTo>
                    <a:pt x="3167458" y="856809"/>
                  </a:lnTo>
                  <a:cubicBezTo>
                    <a:pt x="3204191" y="595630"/>
                    <a:pt x="3021848" y="351590"/>
                    <a:pt x="2760963" y="312785"/>
                  </a:cubicBezTo>
                  <a:lnTo>
                    <a:pt x="2750819" y="311283"/>
                  </a:lnTo>
                  <a:cubicBezTo>
                    <a:pt x="2667401" y="175131"/>
                    <a:pt x="2538199" y="76901"/>
                    <a:pt x="2383177" y="32944"/>
                  </a:cubicBezTo>
                  <a:lnTo>
                    <a:pt x="2364516" y="27649"/>
                  </a:lnTo>
                  <a:cubicBezTo>
                    <a:pt x="2158987" y="-30626"/>
                    <a:pt x="1939141" y="4158"/>
                    <a:pt x="1761352" y="123103"/>
                  </a:cubicBezTo>
                  <a:cubicBezTo>
                    <a:pt x="1728621" y="144996"/>
                    <a:pt x="1719837" y="189277"/>
                    <a:pt x="1741731" y="221998"/>
                  </a:cubicBezTo>
                  <a:cubicBezTo>
                    <a:pt x="1763624" y="254719"/>
                    <a:pt x="1807895" y="263513"/>
                    <a:pt x="1840636" y="241610"/>
                  </a:cubicBezTo>
                  <a:cubicBezTo>
                    <a:pt x="1983622" y="145956"/>
                    <a:pt x="2160384" y="117979"/>
                    <a:pt x="2325616" y="164836"/>
                  </a:cubicBezTo>
                  <a:lnTo>
                    <a:pt x="2344277" y="170131"/>
                  </a:lnTo>
                  <a:cubicBezTo>
                    <a:pt x="2473992" y="206911"/>
                    <a:pt x="2580474" y="292631"/>
                    <a:pt x="2644110" y="411499"/>
                  </a:cubicBezTo>
                  <a:cubicBezTo>
                    <a:pt x="2687887" y="493283"/>
                    <a:pt x="2707214" y="583224"/>
                    <a:pt x="2701633" y="673192"/>
                  </a:cubicBezTo>
                  <a:lnTo>
                    <a:pt x="2653302" y="631649"/>
                  </a:lnTo>
                  <a:cubicBezTo>
                    <a:pt x="2609126" y="593681"/>
                    <a:pt x="2544169" y="592673"/>
                    <a:pt x="2498861" y="629273"/>
                  </a:cubicBezTo>
                  <a:lnTo>
                    <a:pt x="2435463" y="680484"/>
                  </a:lnTo>
                  <a:lnTo>
                    <a:pt x="2073562" y="680484"/>
                  </a:lnTo>
                  <a:cubicBezTo>
                    <a:pt x="1838725" y="680484"/>
                    <a:pt x="1647665" y="871544"/>
                    <a:pt x="1647665" y="1106382"/>
                  </a:cubicBezTo>
                  <a:lnTo>
                    <a:pt x="1647665" y="1126184"/>
                  </a:lnTo>
                  <a:cubicBezTo>
                    <a:pt x="1628756" y="1126250"/>
                    <a:pt x="1610371" y="1128513"/>
                    <a:pt x="1592689" y="1132629"/>
                  </a:cubicBezTo>
                  <a:cubicBezTo>
                    <a:pt x="1512084" y="905710"/>
                    <a:pt x="1534814" y="650044"/>
                    <a:pt x="1655964" y="440912"/>
                  </a:cubicBezTo>
                  <a:cubicBezTo>
                    <a:pt x="1675699" y="406832"/>
                    <a:pt x="1664082" y="363216"/>
                    <a:pt x="1630011" y="343471"/>
                  </a:cubicBezTo>
                  <a:cubicBezTo>
                    <a:pt x="1595940" y="323746"/>
                    <a:pt x="1552324" y="335353"/>
                    <a:pt x="1532580" y="369424"/>
                  </a:cubicBezTo>
                  <a:cubicBezTo>
                    <a:pt x="1386066" y="622352"/>
                    <a:pt x="1362310" y="933317"/>
                    <a:pt x="1467641" y="1205467"/>
                  </a:cubicBezTo>
                  <a:cubicBezTo>
                    <a:pt x="1426963" y="1249444"/>
                    <a:pt x="1402047" y="1308203"/>
                    <a:pt x="1402047" y="1372695"/>
                  </a:cubicBezTo>
                  <a:cubicBezTo>
                    <a:pt x="1402047" y="1508627"/>
                    <a:pt x="1512645" y="1619225"/>
                    <a:pt x="1648587" y="1619225"/>
                  </a:cubicBezTo>
                  <a:lnTo>
                    <a:pt x="1656192" y="1619225"/>
                  </a:lnTo>
                  <a:cubicBezTo>
                    <a:pt x="1683951" y="1788725"/>
                    <a:pt x="1778654" y="1935904"/>
                    <a:pt x="1912209" y="2032774"/>
                  </a:cubicBezTo>
                  <a:lnTo>
                    <a:pt x="1912209" y="2177120"/>
                  </a:lnTo>
                  <a:cubicBezTo>
                    <a:pt x="1897988" y="2182329"/>
                    <a:pt x="1884527" y="2190020"/>
                    <a:pt x="1872558" y="2200182"/>
                  </a:cubicBezTo>
                  <a:lnTo>
                    <a:pt x="1746199" y="2307405"/>
                  </a:lnTo>
                  <a:cubicBezTo>
                    <a:pt x="1714210" y="2334546"/>
                    <a:pt x="1698505" y="2374112"/>
                    <a:pt x="1700302" y="2413374"/>
                  </a:cubicBezTo>
                  <a:lnTo>
                    <a:pt x="1389356" y="2627221"/>
                  </a:lnTo>
                  <a:cubicBezTo>
                    <a:pt x="1326166" y="2670675"/>
                    <a:pt x="1272512" y="2724709"/>
                    <a:pt x="1230075" y="2786054"/>
                  </a:cubicBezTo>
                  <a:cubicBezTo>
                    <a:pt x="1202573" y="2770863"/>
                    <a:pt x="1173911" y="2757877"/>
                    <a:pt x="1144232" y="2747363"/>
                  </a:cubicBezTo>
                  <a:lnTo>
                    <a:pt x="933113" y="2672585"/>
                  </a:lnTo>
                  <a:lnTo>
                    <a:pt x="933113" y="2616393"/>
                  </a:lnTo>
                  <a:cubicBezTo>
                    <a:pt x="1040650" y="2549952"/>
                    <a:pt x="1117957" y="2439203"/>
                    <a:pt x="1139489" y="2309801"/>
                  </a:cubicBezTo>
                  <a:lnTo>
                    <a:pt x="1171392" y="2309801"/>
                  </a:lnTo>
                  <a:cubicBezTo>
                    <a:pt x="1296487" y="2309801"/>
                    <a:pt x="1398254" y="2208035"/>
                    <a:pt x="1398254" y="2082949"/>
                  </a:cubicBezTo>
                  <a:cubicBezTo>
                    <a:pt x="1398254" y="2026785"/>
                    <a:pt x="1377701" y="1975374"/>
                    <a:pt x="1343772" y="1935713"/>
                  </a:cubicBezTo>
                  <a:lnTo>
                    <a:pt x="1356501" y="1785027"/>
                  </a:lnTo>
                  <a:cubicBezTo>
                    <a:pt x="1374193" y="1568033"/>
                    <a:pt x="1279509" y="1362200"/>
                    <a:pt x="1103212" y="1234462"/>
                  </a:cubicBezTo>
                  <a:cubicBezTo>
                    <a:pt x="926915" y="1106705"/>
                    <a:pt x="701831" y="1080819"/>
                    <a:pt x="501132" y="1165198"/>
                  </a:cubicBezTo>
                  <a:lnTo>
                    <a:pt x="359020" y="1224946"/>
                  </a:lnTo>
                  <a:cubicBezTo>
                    <a:pt x="138975" y="1273524"/>
                    <a:pt x="-8099" y="1484376"/>
                    <a:pt x="23319" y="1708348"/>
                  </a:cubicBezTo>
                  <a:lnTo>
                    <a:pt x="55109" y="1934981"/>
                  </a:lnTo>
                  <a:cubicBezTo>
                    <a:pt x="20810" y="1974737"/>
                    <a:pt x="0" y="2026443"/>
                    <a:pt x="0" y="2082949"/>
                  </a:cubicBezTo>
                  <a:cubicBezTo>
                    <a:pt x="0" y="2208035"/>
                    <a:pt x="101766" y="2309801"/>
                    <a:pt x="226862" y="2309801"/>
                  </a:cubicBezTo>
                  <a:lnTo>
                    <a:pt x="258765" y="2309801"/>
                  </a:lnTo>
                  <a:cubicBezTo>
                    <a:pt x="278900" y="2430808"/>
                    <a:pt x="347831" y="2535465"/>
                    <a:pt x="444625" y="2602875"/>
                  </a:cubicBezTo>
                  <a:lnTo>
                    <a:pt x="444625" y="2672585"/>
                  </a:lnTo>
                  <a:lnTo>
                    <a:pt x="233507" y="2747354"/>
                  </a:lnTo>
                  <a:cubicBezTo>
                    <a:pt x="203942" y="2757830"/>
                    <a:pt x="174814" y="2770949"/>
                    <a:pt x="146941" y="2786368"/>
                  </a:cubicBezTo>
                  <a:cubicBezTo>
                    <a:pt x="112480" y="2805419"/>
                    <a:pt x="99989" y="2848797"/>
                    <a:pt x="119040" y="2883258"/>
                  </a:cubicBezTo>
                  <a:cubicBezTo>
                    <a:pt x="132044" y="2906786"/>
                    <a:pt x="156390" y="2920067"/>
                    <a:pt x="181497" y="2920067"/>
                  </a:cubicBezTo>
                  <a:cubicBezTo>
                    <a:pt x="193161" y="2920067"/>
                    <a:pt x="204997" y="2917196"/>
                    <a:pt x="215929" y="2911149"/>
                  </a:cubicBezTo>
                  <a:cubicBezTo>
                    <a:pt x="236967" y="2899513"/>
                    <a:pt x="258898" y="2889627"/>
                    <a:pt x="281096" y="2881765"/>
                  </a:cubicBezTo>
                  <a:lnTo>
                    <a:pt x="463524" y="2817150"/>
                  </a:lnTo>
                  <a:cubicBezTo>
                    <a:pt x="500466" y="2905198"/>
                    <a:pt x="587545" y="2967199"/>
                    <a:pt x="688855" y="2967199"/>
                  </a:cubicBezTo>
                  <a:cubicBezTo>
                    <a:pt x="790165" y="2967199"/>
                    <a:pt x="877244" y="2905198"/>
                    <a:pt x="914186" y="2817150"/>
                  </a:cubicBezTo>
                  <a:lnTo>
                    <a:pt x="1096615" y="2881775"/>
                  </a:lnTo>
                  <a:cubicBezTo>
                    <a:pt x="1119563" y="2889893"/>
                    <a:pt x="1141713" y="2899998"/>
                    <a:pt x="1162941" y="2911862"/>
                  </a:cubicBezTo>
                  <a:cubicBezTo>
                    <a:pt x="1134621" y="2983655"/>
                    <a:pt x="1119440" y="3061018"/>
                    <a:pt x="1119440" y="3140406"/>
                  </a:cubicBezTo>
                  <a:lnTo>
                    <a:pt x="1119440" y="3563386"/>
                  </a:lnTo>
                  <a:cubicBezTo>
                    <a:pt x="1119440" y="3602771"/>
                    <a:pt x="1151362" y="3634684"/>
                    <a:pt x="1190738" y="3634684"/>
                  </a:cubicBezTo>
                  <a:cubicBezTo>
                    <a:pt x="1230113" y="3634684"/>
                    <a:pt x="1262036" y="3602771"/>
                    <a:pt x="1262036" y="3563386"/>
                  </a:cubicBezTo>
                  <a:lnTo>
                    <a:pt x="1262036" y="3140406"/>
                  </a:lnTo>
                  <a:cubicBezTo>
                    <a:pt x="1262036" y="2982258"/>
                    <a:pt x="1339837" y="2834338"/>
                    <a:pt x="1470141" y="2744720"/>
                  </a:cubicBezTo>
                  <a:lnTo>
                    <a:pt x="1767084" y="2540503"/>
                  </a:lnTo>
                  <a:lnTo>
                    <a:pt x="1888795" y="2703234"/>
                  </a:lnTo>
                  <a:cubicBezTo>
                    <a:pt x="1914957" y="2738218"/>
                    <a:pt x="1955977" y="2757925"/>
                    <a:pt x="1998290" y="2757925"/>
                  </a:cubicBezTo>
                  <a:cubicBezTo>
                    <a:pt x="2011466" y="2757925"/>
                    <a:pt x="2024775" y="2756014"/>
                    <a:pt x="2037789" y="2752050"/>
                  </a:cubicBezTo>
                  <a:lnTo>
                    <a:pt x="2214904" y="2698148"/>
                  </a:lnTo>
                  <a:lnTo>
                    <a:pt x="2214904" y="3593236"/>
                  </a:lnTo>
                  <a:cubicBezTo>
                    <a:pt x="2214904" y="3632621"/>
                    <a:pt x="2246826" y="3664534"/>
                    <a:pt x="2286202" y="3664534"/>
                  </a:cubicBezTo>
                  <a:cubicBezTo>
                    <a:pt x="2325578" y="3664534"/>
                    <a:pt x="2357500" y="3632621"/>
                    <a:pt x="2357500" y="3593236"/>
                  </a:cubicBezTo>
                  <a:lnTo>
                    <a:pt x="2357500" y="2698148"/>
                  </a:lnTo>
                  <a:lnTo>
                    <a:pt x="2534634" y="2752059"/>
                  </a:lnTo>
                  <a:cubicBezTo>
                    <a:pt x="2547648" y="2756014"/>
                    <a:pt x="2560938" y="2757925"/>
                    <a:pt x="2574114" y="2757925"/>
                  </a:cubicBezTo>
                  <a:cubicBezTo>
                    <a:pt x="2616417" y="2757925"/>
                    <a:pt x="2657447" y="2738208"/>
                    <a:pt x="2683609" y="2703234"/>
                  </a:cubicBezTo>
                  <a:lnTo>
                    <a:pt x="2805311" y="2540503"/>
                  </a:lnTo>
                  <a:lnTo>
                    <a:pt x="3102253" y="2744720"/>
                  </a:lnTo>
                  <a:cubicBezTo>
                    <a:pt x="3232568" y="2834338"/>
                    <a:pt x="3310359" y="2982258"/>
                    <a:pt x="3310359" y="3140406"/>
                  </a:cubicBezTo>
                  <a:lnTo>
                    <a:pt x="3310359" y="3563386"/>
                  </a:lnTo>
                  <a:cubicBezTo>
                    <a:pt x="3310359" y="3602771"/>
                    <a:pt x="3342281" y="3634684"/>
                    <a:pt x="3381657" y="3634684"/>
                  </a:cubicBezTo>
                  <a:cubicBezTo>
                    <a:pt x="3421033" y="3634684"/>
                    <a:pt x="3452955" y="3602771"/>
                    <a:pt x="3452955" y="3563386"/>
                  </a:cubicBezTo>
                  <a:lnTo>
                    <a:pt x="3452955" y="3140406"/>
                  </a:lnTo>
                  <a:cubicBezTo>
                    <a:pt x="3452955" y="3084252"/>
                    <a:pt x="3445341" y="3029105"/>
                    <a:pt x="3430891" y="2976211"/>
                  </a:cubicBezTo>
                  <a:cubicBezTo>
                    <a:pt x="3445341" y="2967779"/>
                    <a:pt x="3460370" y="2960383"/>
                    <a:pt x="3475913" y="2954147"/>
                  </a:cubicBezTo>
                  <a:lnTo>
                    <a:pt x="3682935" y="2871080"/>
                  </a:lnTo>
                  <a:cubicBezTo>
                    <a:pt x="3719610" y="2950021"/>
                    <a:pt x="3799607" y="3004921"/>
                    <a:pt x="3892228" y="3004921"/>
                  </a:cubicBezTo>
                  <a:cubicBezTo>
                    <a:pt x="3984849" y="3004921"/>
                    <a:pt x="4064846" y="2950031"/>
                    <a:pt x="4101522" y="2871089"/>
                  </a:cubicBezTo>
                  <a:lnTo>
                    <a:pt x="4308553" y="2954147"/>
                  </a:lnTo>
                  <a:cubicBezTo>
                    <a:pt x="4439466" y="3006660"/>
                    <a:pt x="4524045" y="3131737"/>
                    <a:pt x="4524045" y="3272784"/>
                  </a:cubicBezTo>
                  <a:lnTo>
                    <a:pt x="4524045" y="3393468"/>
                  </a:lnTo>
                  <a:cubicBezTo>
                    <a:pt x="4524045" y="3432853"/>
                    <a:pt x="4555968" y="3464766"/>
                    <a:pt x="4595343" y="3464766"/>
                  </a:cubicBezTo>
                  <a:cubicBezTo>
                    <a:pt x="4634719" y="3464766"/>
                    <a:pt x="4666642" y="3432853"/>
                    <a:pt x="4666642" y="3393468"/>
                  </a:cubicBezTo>
                  <a:lnTo>
                    <a:pt x="4666642" y="3272784"/>
                  </a:lnTo>
                  <a:cubicBezTo>
                    <a:pt x="4666632" y="3073149"/>
                    <a:pt x="4546908" y="2896129"/>
                    <a:pt x="4361637" y="2821789"/>
                  </a:cubicBezTo>
                  <a:close/>
                  <a:moveTo>
                    <a:pt x="1544615" y="1372685"/>
                  </a:moveTo>
                  <a:cubicBezTo>
                    <a:pt x="1544615" y="1315685"/>
                    <a:pt x="1590750" y="1269293"/>
                    <a:pt x="1647636" y="1268790"/>
                  </a:cubicBezTo>
                  <a:lnTo>
                    <a:pt x="1647636" y="1476562"/>
                  </a:lnTo>
                  <a:cubicBezTo>
                    <a:pt x="1590759" y="1476068"/>
                    <a:pt x="1544615" y="1429686"/>
                    <a:pt x="1544615" y="1372685"/>
                  </a:cubicBezTo>
                  <a:close/>
                  <a:moveTo>
                    <a:pt x="1171373" y="2167195"/>
                  </a:moveTo>
                  <a:lnTo>
                    <a:pt x="1145630" y="2167195"/>
                  </a:lnTo>
                  <a:lnTo>
                    <a:pt x="1145630" y="1998665"/>
                  </a:lnTo>
                  <a:lnTo>
                    <a:pt x="1171373" y="1998665"/>
                  </a:lnTo>
                  <a:cubicBezTo>
                    <a:pt x="1217841" y="1998665"/>
                    <a:pt x="1255638" y="2036472"/>
                    <a:pt x="1255638" y="2082930"/>
                  </a:cubicBezTo>
                  <a:cubicBezTo>
                    <a:pt x="1255638" y="2129388"/>
                    <a:pt x="1217841" y="2167195"/>
                    <a:pt x="1171373" y="2167195"/>
                  </a:cubicBezTo>
                  <a:close/>
                  <a:moveTo>
                    <a:pt x="142577" y="2082939"/>
                  </a:moveTo>
                  <a:cubicBezTo>
                    <a:pt x="142577" y="2036472"/>
                    <a:pt x="180375" y="1998674"/>
                    <a:pt x="226842" y="1998674"/>
                  </a:cubicBezTo>
                  <a:lnTo>
                    <a:pt x="252586" y="1998674"/>
                  </a:lnTo>
                  <a:lnTo>
                    <a:pt x="252586" y="2167205"/>
                  </a:lnTo>
                  <a:lnTo>
                    <a:pt x="226842" y="2167205"/>
                  </a:lnTo>
                  <a:cubicBezTo>
                    <a:pt x="180385" y="2167195"/>
                    <a:pt x="142577" y="2129398"/>
                    <a:pt x="142577" y="2082939"/>
                  </a:cubicBezTo>
                  <a:close/>
                  <a:moveTo>
                    <a:pt x="339180" y="1636299"/>
                  </a:moveTo>
                  <a:cubicBezTo>
                    <a:pt x="291886" y="1701608"/>
                    <a:pt x="263290" y="1776813"/>
                    <a:pt x="255105" y="1856068"/>
                  </a:cubicBezTo>
                  <a:lnTo>
                    <a:pt x="226842" y="1856068"/>
                  </a:lnTo>
                  <a:cubicBezTo>
                    <a:pt x="213762" y="1856068"/>
                    <a:pt x="200966" y="1857247"/>
                    <a:pt x="188484" y="1859377"/>
                  </a:cubicBezTo>
                  <a:lnTo>
                    <a:pt x="164518" y="1688518"/>
                  </a:lnTo>
                  <a:cubicBezTo>
                    <a:pt x="143205" y="1536605"/>
                    <a:pt x="244277" y="1393685"/>
                    <a:pt x="394612" y="1363141"/>
                  </a:cubicBezTo>
                  <a:cubicBezTo>
                    <a:pt x="399213" y="1362209"/>
                    <a:pt x="403719" y="1360821"/>
                    <a:pt x="408054" y="1358996"/>
                  </a:cubicBezTo>
                  <a:lnTo>
                    <a:pt x="556393" y="1296624"/>
                  </a:lnTo>
                  <a:cubicBezTo>
                    <a:pt x="710796" y="1231705"/>
                    <a:pt x="883927" y="1251640"/>
                    <a:pt x="1019536" y="1349898"/>
                  </a:cubicBezTo>
                  <a:cubicBezTo>
                    <a:pt x="1155146" y="1448176"/>
                    <a:pt x="1227984" y="1606496"/>
                    <a:pt x="1214390" y="1773201"/>
                  </a:cubicBezTo>
                  <a:lnTo>
                    <a:pt x="1207146" y="1858901"/>
                  </a:lnTo>
                  <a:cubicBezTo>
                    <a:pt x="1195491" y="1857048"/>
                    <a:pt x="1183551" y="1856059"/>
                    <a:pt x="1171373" y="1856059"/>
                  </a:cubicBezTo>
                  <a:lnTo>
                    <a:pt x="1145002" y="1856059"/>
                  </a:lnTo>
                  <a:cubicBezTo>
                    <a:pt x="1138861" y="1795607"/>
                    <a:pt x="1087669" y="1748266"/>
                    <a:pt x="1025621" y="1748266"/>
                  </a:cubicBezTo>
                  <a:lnTo>
                    <a:pt x="849561" y="1748266"/>
                  </a:lnTo>
                  <a:cubicBezTo>
                    <a:pt x="724086" y="1748266"/>
                    <a:pt x="599922" y="1706504"/>
                    <a:pt x="499953" y="1630690"/>
                  </a:cubicBezTo>
                  <a:lnTo>
                    <a:pt x="479780" y="1615394"/>
                  </a:lnTo>
                  <a:cubicBezTo>
                    <a:pt x="458600" y="1599328"/>
                    <a:pt x="431354" y="1592350"/>
                    <a:pt x="405088" y="1596267"/>
                  </a:cubicBezTo>
                  <a:cubicBezTo>
                    <a:pt x="378793" y="1600184"/>
                    <a:pt x="354771" y="1614776"/>
                    <a:pt x="339180" y="1636299"/>
                  </a:cubicBezTo>
                  <a:close/>
                  <a:moveTo>
                    <a:pt x="454674" y="1719936"/>
                  </a:moveTo>
                  <a:cubicBezTo>
                    <a:pt x="454655" y="1719965"/>
                    <a:pt x="454645" y="1719984"/>
                    <a:pt x="454636" y="1720003"/>
                  </a:cubicBezTo>
                  <a:cubicBezTo>
                    <a:pt x="454645" y="1719984"/>
                    <a:pt x="454664" y="1719965"/>
                    <a:pt x="454674" y="1719936"/>
                  </a:cubicBezTo>
                  <a:close/>
                  <a:moveTo>
                    <a:pt x="395192" y="1903525"/>
                  </a:moveTo>
                  <a:cubicBezTo>
                    <a:pt x="395192" y="1851962"/>
                    <a:pt x="407617" y="1802129"/>
                    <a:pt x="431411" y="1757259"/>
                  </a:cubicBezTo>
                  <a:cubicBezTo>
                    <a:pt x="552837" y="1843567"/>
                    <a:pt x="700462" y="1890881"/>
                    <a:pt x="849571" y="1890881"/>
                  </a:cubicBezTo>
                  <a:lnTo>
                    <a:pt x="1003033" y="1890881"/>
                  </a:lnTo>
                  <a:lnTo>
                    <a:pt x="1003033" y="2236288"/>
                  </a:lnTo>
                  <a:cubicBezTo>
                    <a:pt x="1003033" y="2403877"/>
                    <a:pt x="866692" y="2540218"/>
                    <a:pt x="699113" y="2540218"/>
                  </a:cubicBezTo>
                  <a:cubicBezTo>
                    <a:pt x="531533" y="2540218"/>
                    <a:pt x="395192" y="2403877"/>
                    <a:pt x="395192" y="2236288"/>
                  </a:cubicBezTo>
                  <a:close/>
                  <a:moveTo>
                    <a:pt x="688846" y="2824603"/>
                  </a:moveTo>
                  <a:cubicBezTo>
                    <a:pt x="632796" y="2824603"/>
                    <a:pt x="587203" y="2779000"/>
                    <a:pt x="587203" y="2722960"/>
                  </a:cubicBezTo>
                  <a:lnTo>
                    <a:pt x="587203" y="2668602"/>
                  </a:lnTo>
                  <a:cubicBezTo>
                    <a:pt x="622976" y="2677871"/>
                    <a:pt x="660478" y="2682815"/>
                    <a:pt x="699113" y="2682815"/>
                  </a:cubicBezTo>
                  <a:cubicBezTo>
                    <a:pt x="730427" y="2682815"/>
                    <a:pt x="760980" y="2679544"/>
                    <a:pt x="790498" y="2673375"/>
                  </a:cubicBezTo>
                  <a:lnTo>
                    <a:pt x="790498" y="2722960"/>
                  </a:lnTo>
                  <a:cubicBezTo>
                    <a:pt x="790498" y="2779000"/>
                    <a:pt x="744896" y="2824603"/>
                    <a:pt x="688846" y="2824603"/>
                  </a:cubicBezTo>
                  <a:close/>
                  <a:moveTo>
                    <a:pt x="2924740" y="1476562"/>
                  </a:moveTo>
                  <a:lnTo>
                    <a:pt x="2924740" y="1268790"/>
                  </a:lnTo>
                  <a:cubicBezTo>
                    <a:pt x="2981626" y="1269284"/>
                    <a:pt x="3027761" y="1315685"/>
                    <a:pt x="3027761" y="1372685"/>
                  </a:cubicBezTo>
                  <a:cubicBezTo>
                    <a:pt x="3027761" y="1429686"/>
                    <a:pt x="2981626" y="1476068"/>
                    <a:pt x="2924740" y="1476562"/>
                  </a:cubicBezTo>
                  <a:close/>
                  <a:moveTo>
                    <a:pt x="3026221" y="836922"/>
                  </a:moveTo>
                  <a:lnTo>
                    <a:pt x="2984469" y="1133713"/>
                  </a:lnTo>
                  <a:cubicBezTo>
                    <a:pt x="2965342" y="1128855"/>
                    <a:pt x="2945331" y="1126241"/>
                    <a:pt x="2924730" y="1126165"/>
                  </a:cubicBezTo>
                  <a:lnTo>
                    <a:pt x="2924730" y="1120394"/>
                  </a:lnTo>
                  <a:cubicBezTo>
                    <a:pt x="2924730" y="1005442"/>
                    <a:pt x="2889176" y="894873"/>
                    <a:pt x="2824789" y="802480"/>
                  </a:cubicBezTo>
                  <a:cubicBezTo>
                    <a:pt x="2852862" y="694354"/>
                    <a:pt x="2851873" y="583033"/>
                    <a:pt x="2822812" y="477227"/>
                  </a:cubicBezTo>
                  <a:cubicBezTo>
                    <a:pt x="2960531" y="536005"/>
                    <a:pt x="3047991" y="682186"/>
                    <a:pt x="3026221" y="836922"/>
                  </a:cubicBezTo>
                  <a:close/>
                  <a:moveTo>
                    <a:pt x="1790242" y="1515691"/>
                  </a:moveTo>
                  <a:lnTo>
                    <a:pt x="1790242" y="1106363"/>
                  </a:lnTo>
                  <a:cubicBezTo>
                    <a:pt x="1790242" y="950143"/>
                    <a:pt x="1917333" y="823061"/>
                    <a:pt x="2073543" y="823061"/>
                  </a:cubicBezTo>
                  <a:lnTo>
                    <a:pt x="2460645" y="823061"/>
                  </a:lnTo>
                  <a:cubicBezTo>
                    <a:pt x="2476949" y="823061"/>
                    <a:pt x="2492758" y="817472"/>
                    <a:pt x="2505440" y="807233"/>
                  </a:cubicBezTo>
                  <a:lnTo>
                    <a:pt x="2574200" y="751687"/>
                  </a:lnTo>
                  <a:lnTo>
                    <a:pt x="2638073" y="806587"/>
                  </a:lnTo>
                  <a:cubicBezTo>
                    <a:pt x="2729630" y="885281"/>
                    <a:pt x="2782134" y="999672"/>
                    <a:pt x="2782134" y="1120394"/>
                  </a:cubicBezTo>
                  <a:lnTo>
                    <a:pt x="2782134" y="1515681"/>
                  </a:lnTo>
                  <a:cubicBezTo>
                    <a:pt x="2782134" y="1789153"/>
                    <a:pt x="2559655" y="2011632"/>
                    <a:pt x="2286183" y="2011632"/>
                  </a:cubicBezTo>
                  <a:cubicBezTo>
                    <a:pt x="2012712" y="2011632"/>
                    <a:pt x="1790242" y="1789153"/>
                    <a:pt x="1790242" y="1515691"/>
                  </a:cubicBezTo>
                  <a:close/>
                  <a:moveTo>
                    <a:pt x="2286193" y="2154238"/>
                  </a:moveTo>
                  <a:cubicBezTo>
                    <a:pt x="2367805" y="2154238"/>
                    <a:pt x="2445796" y="2138685"/>
                    <a:pt x="2517608" y="2110660"/>
                  </a:cubicBezTo>
                  <a:lnTo>
                    <a:pt x="2517608" y="2202017"/>
                  </a:lnTo>
                  <a:lnTo>
                    <a:pt x="2286193" y="2315486"/>
                  </a:lnTo>
                  <a:lnTo>
                    <a:pt x="2054778" y="2202017"/>
                  </a:lnTo>
                  <a:lnTo>
                    <a:pt x="2054778" y="2110660"/>
                  </a:lnTo>
                  <a:cubicBezTo>
                    <a:pt x="2126580" y="2138676"/>
                    <a:pt x="2204580" y="2154238"/>
                    <a:pt x="2286193" y="2154238"/>
                  </a:cubicBezTo>
                  <a:close/>
                  <a:moveTo>
                    <a:pt x="2000391" y="2614359"/>
                  </a:moveTo>
                  <a:lnTo>
                    <a:pt x="1846805" y="2409010"/>
                  </a:lnTo>
                  <a:lnTo>
                    <a:pt x="1958953" y="2313841"/>
                  </a:lnTo>
                  <a:lnTo>
                    <a:pt x="2214885" y="2439326"/>
                  </a:lnTo>
                  <a:lnTo>
                    <a:pt x="2214885" y="2549078"/>
                  </a:lnTo>
                  <a:close/>
                  <a:moveTo>
                    <a:pt x="2571985" y="2614359"/>
                  </a:moveTo>
                  <a:lnTo>
                    <a:pt x="2357491" y="2549087"/>
                  </a:lnTo>
                  <a:lnTo>
                    <a:pt x="2357491" y="2439336"/>
                  </a:lnTo>
                  <a:lnTo>
                    <a:pt x="2613423" y="2313851"/>
                  </a:lnTo>
                  <a:lnTo>
                    <a:pt x="2725571" y="2409020"/>
                  </a:lnTo>
                  <a:close/>
                  <a:moveTo>
                    <a:pt x="3274234" y="2314279"/>
                  </a:moveTo>
                  <a:cubicBezTo>
                    <a:pt x="3209686" y="2230584"/>
                    <a:pt x="3196253" y="2122743"/>
                    <a:pt x="3238309" y="2025777"/>
                  </a:cubicBezTo>
                  <a:lnTo>
                    <a:pt x="3345504" y="1778591"/>
                  </a:lnTo>
                  <a:cubicBezTo>
                    <a:pt x="3358604" y="1748399"/>
                    <a:pt x="3367625" y="1716561"/>
                    <a:pt x="3372312" y="1683954"/>
                  </a:cubicBezTo>
                  <a:cubicBezTo>
                    <a:pt x="3409739" y="1423906"/>
                    <a:pt x="3636078" y="1227798"/>
                    <a:pt x="3898807" y="1227798"/>
                  </a:cubicBezTo>
                  <a:cubicBezTo>
                    <a:pt x="4161536" y="1227798"/>
                    <a:pt x="4387875" y="1423906"/>
                    <a:pt x="4425292" y="1683954"/>
                  </a:cubicBezTo>
                  <a:cubicBezTo>
                    <a:pt x="4429979" y="1716552"/>
                    <a:pt x="4439000" y="1748389"/>
                    <a:pt x="4452100" y="1778591"/>
                  </a:cubicBezTo>
                  <a:lnTo>
                    <a:pt x="4559295" y="2025777"/>
                  </a:lnTo>
                  <a:cubicBezTo>
                    <a:pt x="4601342" y="2122733"/>
                    <a:pt x="4587919" y="2230584"/>
                    <a:pt x="4523370" y="2314279"/>
                  </a:cubicBezTo>
                  <a:cubicBezTo>
                    <a:pt x="4475572" y="2376241"/>
                    <a:pt x="4407839" y="2414391"/>
                    <a:pt x="4333498" y="2423545"/>
                  </a:cubicBezTo>
                  <a:cubicBezTo>
                    <a:pt x="4348851" y="2383656"/>
                    <a:pt x="4358861" y="2341134"/>
                    <a:pt x="4362540" y="2296815"/>
                  </a:cubicBezTo>
                  <a:cubicBezTo>
                    <a:pt x="4365792" y="2257573"/>
                    <a:pt x="4336607" y="2223121"/>
                    <a:pt x="4297374" y="2219870"/>
                  </a:cubicBezTo>
                  <a:cubicBezTo>
                    <a:pt x="4258169" y="2216685"/>
                    <a:pt x="4223689" y="2245804"/>
                    <a:pt x="4220429" y="2285037"/>
                  </a:cubicBezTo>
                  <a:cubicBezTo>
                    <a:pt x="4206692" y="2450896"/>
                    <a:pt x="4065417" y="2580820"/>
                    <a:pt x="3898807" y="2580820"/>
                  </a:cubicBezTo>
                  <a:cubicBezTo>
                    <a:pt x="3720780" y="2580820"/>
                    <a:pt x="3575959" y="2435999"/>
                    <a:pt x="3575959" y="2257972"/>
                  </a:cubicBezTo>
                  <a:lnTo>
                    <a:pt x="3575959" y="1915940"/>
                  </a:lnTo>
                  <a:cubicBezTo>
                    <a:pt x="3575959" y="1840098"/>
                    <a:pt x="3598280" y="1765510"/>
                    <a:pt x="3639395" y="1702197"/>
                  </a:cubicBezTo>
                  <a:cubicBezTo>
                    <a:pt x="3731655" y="1772621"/>
                    <a:pt x="3845381" y="1812900"/>
                    <a:pt x="3961549" y="1815970"/>
                  </a:cubicBezTo>
                  <a:lnTo>
                    <a:pt x="4221655" y="1822834"/>
                  </a:lnTo>
                  <a:lnTo>
                    <a:pt x="4221655" y="1987067"/>
                  </a:lnTo>
                  <a:cubicBezTo>
                    <a:pt x="4221655" y="2026452"/>
                    <a:pt x="4253577" y="2058365"/>
                    <a:pt x="4292953" y="2058365"/>
                  </a:cubicBezTo>
                  <a:cubicBezTo>
                    <a:pt x="4332329" y="2058365"/>
                    <a:pt x="4364251" y="2026452"/>
                    <a:pt x="4364251" y="1987067"/>
                  </a:cubicBezTo>
                  <a:lnTo>
                    <a:pt x="4364251" y="1803526"/>
                  </a:lnTo>
                  <a:cubicBezTo>
                    <a:pt x="4364251" y="1736468"/>
                    <a:pt x="4311738" y="1682557"/>
                    <a:pt x="4244708" y="1680798"/>
                  </a:cubicBezTo>
                  <a:lnTo>
                    <a:pt x="3965304" y="1673440"/>
                  </a:lnTo>
                  <a:cubicBezTo>
                    <a:pt x="3874832" y="1671045"/>
                    <a:pt x="3786355" y="1638276"/>
                    <a:pt x="3716169" y="1581190"/>
                  </a:cubicBezTo>
                  <a:lnTo>
                    <a:pt x="3697746" y="1566198"/>
                  </a:lnTo>
                  <a:cubicBezTo>
                    <a:pt x="3676014" y="1548526"/>
                    <a:pt x="3648721" y="1540426"/>
                    <a:pt x="3620858" y="1543421"/>
                  </a:cubicBezTo>
                  <a:cubicBezTo>
                    <a:pt x="3593013" y="1546396"/>
                    <a:pt x="3568040" y="1560086"/>
                    <a:pt x="3550558" y="1581941"/>
                  </a:cubicBezTo>
                  <a:cubicBezTo>
                    <a:pt x="3474972" y="1676378"/>
                    <a:pt x="3433334" y="1794999"/>
                    <a:pt x="3433334" y="1915968"/>
                  </a:cubicBezTo>
                  <a:lnTo>
                    <a:pt x="3433334" y="2258000"/>
                  </a:lnTo>
                  <a:cubicBezTo>
                    <a:pt x="3433334" y="2316246"/>
                    <a:pt x="3444181" y="2371982"/>
                    <a:pt x="3463811" y="2423412"/>
                  </a:cubicBezTo>
                  <a:cubicBezTo>
                    <a:pt x="3389604" y="2414191"/>
                    <a:pt x="3321966" y="2376165"/>
                    <a:pt x="3274234" y="2314279"/>
                  </a:cubicBezTo>
                  <a:close/>
                  <a:moveTo>
                    <a:pt x="3892219" y="2862315"/>
                  </a:moveTo>
                  <a:cubicBezTo>
                    <a:pt x="3843650" y="2862315"/>
                    <a:pt x="3804132" y="2822806"/>
                    <a:pt x="3804132" y="2774228"/>
                  </a:cubicBezTo>
                  <a:lnTo>
                    <a:pt x="3804132" y="2713720"/>
                  </a:lnTo>
                  <a:cubicBezTo>
                    <a:pt x="3834714" y="2720061"/>
                    <a:pt x="3866371" y="2723426"/>
                    <a:pt x="3898797" y="2723426"/>
                  </a:cubicBezTo>
                  <a:cubicBezTo>
                    <a:pt x="3926537" y="2723426"/>
                    <a:pt x="3953754" y="2720821"/>
                    <a:pt x="3980296" y="2716030"/>
                  </a:cubicBezTo>
                  <a:lnTo>
                    <a:pt x="3980296" y="2774238"/>
                  </a:lnTo>
                  <a:cubicBezTo>
                    <a:pt x="3980305" y="2822806"/>
                    <a:pt x="3940787" y="2862315"/>
                    <a:pt x="3892219" y="2862315"/>
                  </a:cubicBezTo>
                  <a:close/>
                </a:path>
              </a:pathLst>
            </a:custGeom>
            <a:solidFill>
              <a:srgbClr val="000000"/>
            </a:solidFill>
            <a:ln w="9506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71" name="Frihandsfigur: Form 470">
              <a:extLst>
                <a:ext uri="{FF2B5EF4-FFF2-40B4-BE49-F238E27FC236}">
                  <a16:creationId xmlns:a16="http://schemas.microsoft.com/office/drawing/2014/main" id="{F3A75F17-10B9-3E3C-59D3-14AF946945A2}"/>
                </a:ext>
              </a:extLst>
            </p:cNvPr>
            <p:cNvSpPr/>
            <p:nvPr/>
          </p:nvSpPr>
          <p:spPr>
            <a:xfrm>
              <a:off x="7179997" y="2461218"/>
              <a:ext cx="51518" cy="157352"/>
            </a:xfrm>
            <a:custGeom>
              <a:avLst/>
              <a:gdLst>
                <a:gd name="connsiteX0" fmla="*/ 152816 w 193068"/>
                <a:gd name="connsiteY0" fmla="*/ 7160 h 589686"/>
                <a:gd name="connsiteX1" fmla="*/ 57571 w 193068"/>
                <a:gd name="connsiteY1" fmla="*/ 40252 h 589686"/>
                <a:gd name="connsiteX2" fmla="*/ 0 w 193068"/>
                <a:gd name="connsiteY2" fmla="*/ 291108 h 589686"/>
                <a:gd name="connsiteX3" fmla="*/ 0 w 193068"/>
                <a:gd name="connsiteY3" fmla="*/ 518388 h 589686"/>
                <a:gd name="connsiteX4" fmla="*/ 71298 w 193068"/>
                <a:gd name="connsiteY4" fmla="*/ 589686 h 589686"/>
                <a:gd name="connsiteX5" fmla="*/ 142596 w 193068"/>
                <a:gd name="connsiteY5" fmla="*/ 518388 h 589686"/>
                <a:gd name="connsiteX6" fmla="*/ 142596 w 193068"/>
                <a:gd name="connsiteY6" fmla="*/ 291108 h 589686"/>
                <a:gd name="connsiteX7" fmla="*/ 185927 w 193068"/>
                <a:gd name="connsiteY7" fmla="*/ 102396 h 589686"/>
                <a:gd name="connsiteX8" fmla="*/ 152816 w 193068"/>
                <a:gd name="connsiteY8" fmla="*/ 7160 h 589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3068" h="589686">
                  <a:moveTo>
                    <a:pt x="152816" y="7160"/>
                  </a:moveTo>
                  <a:cubicBezTo>
                    <a:pt x="117376" y="-10037"/>
                    <a:pt x="74740" y="4812"/>
                    <a:pt x="57571" y="40252"/>
                  </a:cubicBezTo>
                  <a:cubicBezTo>
                    <a:pt x="19374" y="119165"/>
                    <a:pt x="0" y="203563"/>
                    <a:pt x="0" y="291108"/>
                  </a:cubicBezTo>
                  <a:lnTo>
                    <a:pt x="0" y="518388"/>
                  </a:lnTo>
                  <a:cubicBezTo>
                    <a:pt x="0" y="557773"/>
                    <a:pt x="31923" y="589686"/>
                    <a:pt x="71298" y="589686"/>
                  </a:cubicBezTo>
                  <a:cubicBezTo>
                    <a:pt x="110674" y="589686"/>
                    <a:pt x="142596" y="557773"/>
                    <a:pt x="142596" y="518388"/>
                  </a:cubicBezTo>
                  <a:lnTo>
                    <a:pt x="142596" y="291108"/>
                  </a:lnTo>
                  <a:cubicBezTo>
                    <a:pt x="142596" y="225266"/>
                    <a:pt x="157170" y="161783"/>
                    <a:pt x="185927" y="102396"/>
                  </a:cubicBezTo>
                  <a:cubicBezTo>
                    <a:pt x="203086" y="66956"/>
                    <a:pt x="188265" y="24310"/>
                    <a:pt x="152816" y="7160"/>
                  </a:cubicBezTo>
                  <a:close/>
                </a:path>
              </a:pathLst>
            </a:custGeom>
            <a:solidFill>
              <a:srgbClr val="000000"/>
            </a:solidFill>
            <a:ln w="9506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</p:grpSp>
      <p:sp>
        <p:nvSpPr>
          <p:cNvPr id="3" name="Rounded Rectangle 2"/>
          <p:cNvSpPr/>
          <p:nvPr/>
        </p:nvSpPr>
        <p:spPr>
          <a:xfrm>
            <a:off x="609600" y="3330498"/>
            <a:ext cx="1422798" cy="639336"/>
          </a:xfrm>
          <a:prstGeom prst="roundRect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000" dirty="0"/>
          </a:p>
        </p:txBody>
      </p:sp>
    </p:spTree>
    <p:extLst>
      <p:ext uri="{BB962C8B-B14F-4D97-AF65-F5344CB8AC3E}">
        <p14:creationId xmlns:p14="http://schemas.microsoft.com/office/powerpoint/2010/main" val="194161958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1" name="Grupp 490">
            <a:extLst>
              <a:ext uri="{FF2B5EF4-FFF2-40B4-BE49-F238E27FC236}">
                <a16:creationId xmlns:a16="http://schemas.microsoft.com/office/drawing/2014/main" id="{300F8D7D-9D25-B439-8464-5F012F3B3AA9}"/>
              </a:ext>
            </a:extLst>
          </p:cNvPr>
          <p:cNvGrpSpPr/>
          <p:nvPr/>
        </p:nvGrpSpPr>
        <p:grpSpPr>
          <a:xfrm>
            <a:off x="1057276" y="1472534"/>
            <a:ext cx="293760" cy="1311545"/>
            <a:chOff x="1810923" y="1719263"/>
            <a:chExt cx="938049" cy="4283867"/>
          </a:xfrm>
        </p:grpSpPr>
        <p:sp>
          <p:nvSpPr>
            <p:cNvPr id="492" name="Rektangel: rundade hörn 491">
              <a:extLst>
                <a:ext uri="{FF2B5EF4-FFF2-40B4-BE49-F238E27FC236}">
                  <a16:creationId xmlns:a16="http://schemas.microsoft.com/office/drawing/2014/main" id="{CCD05747-DC1D-B769-3717-D429B9AB55B3}"/>
                </a:ext>
              </a:extLst>
            </p:cNvPr>
            <p:cNvSpPr/>
            <p:nvPr/>
          </p:nvSpPr>
          <p:spPr>
            <a:xfrm>
              <a:off x="2429885" y="1775020"/>
              <a:ext cx="276458" cy="4172354"/>
            </a:xfrm>
            <a:prstGeom prst="roundRect">
              <a:avLst>
                <a:gd name="adj" fmla="val 27605"/>
              </a:avLst>
            </a:prstGeom>
            <a:noFill/>
            <a:ln w="19050">
              <a:solidFill>
                <a:srgbClr val="F2F2F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algn="ctr"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cs typeface="Arial"/>
              </a:endParaRPr>
            </a:p>
          </p:txBody>
        </p:sp>
        <p:sp>
          <p:nvSpPr>
            <p:cNvPr id="493" name="Rektangel 492">
              <a:extLst>
                <a:ext uri="{FF2B5EF4-FFF2-40B4-BE49-F238E27FC236}">
                  <a16:creationId xmlns:a16="http://schemas.microsoft.com/office/drawing/2014/main" id="{0A2E1F37-108E-260E-1EBC-4EE8A1BBCD39}"/>
                </a:ext>
              </a:extLst>
            </p:cNvPr>
            <p:cNvSpPr/>
            <p:nvPr/>
          </p:nvSpPr>
          <p:spPr>
            <a:xfrm>
              <a:off x="2574522" y="1719263"/>
              <a:ext cx="174450" cy="428386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algn="ctr"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cs typeface="Arial"/>
              </a:endParaRPr>
            </a:p>
          </p:txBody>
        </p:sp>
        <p:cxnSp>
          <p:nvCxnSpPr>
            <p:cNvPr id="494" name="Rak koppling 493">
              <a:extLst>
                <a:ext uri="{FF2B5EF4-FFF2-40B4-BE49-F238E27FC236}">
                  <a16:creationId xmlns:a16="http://schemas.microsoft.com/office/drawing/2014/main" id="{25C253FC-08AE-9883-7A70-E1D06416151B}"/>
                </a:ext>
              </a:extLst>
            </p:cNvPr>
            <p:cNvCxnSpPr/>
            <p:nvPr/>
          </p:nvCxnSpPr>
          <p:spPr>
            <a:xfrm flipH="1" flipV="1">
              <a:off x="1810923" y="3861198"/>
              <a:ext cx="618963" cy="1"/>
            </a:xfrm>
            <a:prstGeom prst="line">
              <a:avLst/>
            </a:prstGeom>
            <a:noFill/>
            <a:ln w="19050">
              <a:solidFill>
                <a:srgbClr val="F2F2F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" name="Platshållare för bildnummer 1">
            <a:extLst>
              <a:ext uri="{FF2B5EF4-FFF2-40B4-BE49-F238E27FC236}">
                <a16:creationId xmlns:a16="http://schemas.microsoft.com/office/drawing/2014/main" id="{54E2D41F-25B6-A47E-1616-BCEB35BEA2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422A9A3-8636-4A04-BD48-3153280FB086}" type="slidenum">
              <a:rPr lang="sv-SE">
                <a:solidFill>
                  <a:srgbClr val="000000">
                    <a:tint val="75000"/>
                  </a:srgbClr>
                </a:solidFill>
                <a:latin typeface="Arial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3</a:t>
            </a:fld>
            <a:endParaRPr lang="sv-SE">
              <a:solidFill>
                <a:srgbClr val="000000">
                  <a:tint val="75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82BC58BF-6655-FD31-5B11-27FF2CC9BC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CCE91D87-1285-6843-BFFA-E098C31F828A}" type="datetime1">
              <a:rPr lang="sv-SE">
                <a:solidFill>
                  <a:srgbClr val="000000">
                    <a:tint val="75000"/>
                  </a:srgbClr>
                </a:solidFill>
                <a:latin typeface="Arial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3-09-12</a:t>
            </a:fld>
            <a:endParaRPr lang="sv-SE">
              <a:solidFill>
                <a:srgbClr val="000000">
                  <a:tint val="75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5" name="Rubrik 4">
            <a:extLst>
              <a:ext uri="{FF2B5EF4-FFF2-40B4-BE49-F238E27FC236}">
                <a16:creationId xmlns:a16="http://schemas.microsoft.com/office/drawing/2014/main" id="{4A53245C-68FA-2312-C7CF-24F7E4D6D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ammanfattning</a:t>
            </a:r>
          </a:p>
        </p:txBody>
      </p:sp>
      <p:sp>
        <p:nvSpPr>
          <p:cNvPr id="287" name="textruta 286">
            <a:extLst>
              <a:ext uri="{FF2B5EF4-FFF2-40B4-BE49-F238E27FC236}">
                <a16:creationId xmlns:a16="http://schemas.microsoft.com/office/drawing/2014/main" id="{EDC5FF7E-C546-1961-DC76-5BFE71073588}"/>
              </a:ext>
            </a:extLst>
          </p:cNvPr>
          <p:cNvSpPr txBox="1"/>
          <p:nvPr/>
        </p:nvSpPr>
        <p:spPr>
          <a:xfrm>
            <a:off x="4152306" y="1224102"/>
            <a:ext cx="2227855" cy="6065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94">
                <a:solidFill>
                  <a:srgbClr val="000000"/>
                </a:solidFill>
                <a:latin typeface="Arial"/>
                <a:ea typeface="Roboto" panose="02000000000000000000" pitchFamily="2" charset="0"/>
                <a:cs typeface="Arial"/>
              </a:rPr>
              <a:t>* Jämfört med föregående mättillfälle</a:t>
            </a:r>
          </a:p>
        </p:txBody>
      </p:sp>
      <p:sp>
        <p:nvSpPr>
          <p:cNvPr id="288" name="textruta 287">
            <a:extLst>
              <a:ext uri="{FF2B5EF4-FFF2-40B4-BE49-F238E27FC236}">
                <a16:creationId xmlns:a16="http://schemas.microsoft.com/office/drawing/2014/main" id="{6EEADC8B-2BFA-B30C-590F-361D60221A3D}"/>
              </a:ext>
            </a:extLst>
          </p:cNvPr>
          <p:cNvSpPr txBox="1"/>
          <p:nvPr/>
        </p:nvSpPr>
        <p:spPr>
          <a:xfrm>
            <a:off x="4152306" y="1287768"/>
            <a:ext cx="2227855" cy="6065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94">
                <a:solidFill>
                  <a:srgbClr val="000000"/>
                </a:solidFill>
                <a:latin typeface="Arial"/>
                <a:ea typeface="Roboto" panose="02000000000000000000" pitchFamily="2" charset="0"/>
                <a:cs typeface="Arial"/>
              </a:rPr>
              <a:t>** Jämfört med VS - Verksamhetsstöd</a:t>
            </a:r>
          </a:p>
        </p:txBody>
      </p:sp>
      <p:sp>
        <p:nvSpPr>
          <p:cNvPr id="317" name="Rektangel 3">
            <a:extLst>
              <a:ext uri="{FF2B5EF4-FFF2-40B4-BE49-F238E27FC236}">
                <a16:creationId xmlns:a16="http://schemas.microsoft.com/office/drawing/2014/main" id="{35EC8BA2-C377-7220-C97C-CC0EA32099D8}"/>
              </a:ext>
            </a:extLst>
          </p:cNvPr>
          <p:cNvSpPr/>
          <p:nvPr/>
        </p:nvSpPr>
        <p:spPr>
          <a:xfrm>
            <a:off x="2206811" y="4341895"/>
            <a:ext cx="1060257" cy="134819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sv-SE"/>
            </a:defPPr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4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1pPr>
            <a:lvl2pPr marL="45720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4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2pPr>
            <a:lvl3pPr marL="91440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4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3pPr>
            <a:lvl4pPr marL="137160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4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4pPr>
            <a:lvl5pPr marL="182880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4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5pPr>
            <a:lvl6pPr marL="22860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4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6pPr>
            <a:lvl7pPr marL="27432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4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7pPr>
            <a:lvl8pPr marL="32004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4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8pPr>
            <a:lvl9pPr marL="36576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4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9pPr>
          </a:lstStyle>
          <a:p>
            <a:pPr algn="r" defTabSz="685800"/>
            <a:r>
              <a:rPr lang="sv-SE" sz="563" b="1">
                <a:solidFill>
                  <a:srgbClr val="000000">
                    <a:tint val="75000"/>
                  </a:srgbClr>
                </a:solidFill>
              </a:rPr>
              <a:t>Svarsfrekvens</a:t>
            </a:r>
          </a:p>
        </p:txBody>
      </p:sp>
      <p:sp>
        <p:nvSpPr>
          <p:cNvPr id="319" name="Rektangel 3">
            <a:extLst>
              <a:ext uri="{FF2B5EF4-FFF2-40B4-BE49-F238E27FC236}">
                <a16:creationId xmlns:a16="http://schemas.microsoft.com/office/drawing/2014/main" id="{9451E478-8D1B-235D-C34F-11523F9F1DE5}"/>
              </a:ext>
            </a:extLst>
          </p:cNvPr>
          <p:cNvSpPr/>
          <p:nvPr/>
        </p:nvSpPr>
        <p:spPr>
          <a:xfrm>
            <a:off x="3215286" y="4341895"/>
            <a:ext cx="888705" cy="134819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sv-SE"/>
            </a:defPPr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4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1pPr>
            <a:lvl2pPr marL="45720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4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2pPr>
            <a:lvl3pPr marL="91440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4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3pPr>
            <a:lvl4pPr marL="137160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4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4pPr>
            <a:lvl5pPr marL="182880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4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5pPr>
            <a:lvl6pPr marL="22860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4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6pPr>
            <a:lvl7pPr marL="27432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4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7pPr>
            <a:lvl8pPr marL="32004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4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8pPr>
            <a:lvl9pPr marL="36576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4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9pPr>
          </a:lstStyle>
          <a:p>
            <a:pPr defTabSz="685800"/>
            <a:r>
              <a:rPr lang="sv-SE" sz="563">
                <a:solidFill>
                  <a:srgbClr val="000000">
                    <a:tint val="75000"/>
                  </a:srgbClr>
                </a:solidFill>
              </a:rPr>
              <a:t>82 % (62 av 76)</a:t>
            </a:r>
          </a:p>
        </p:txBody>
      </p:sp>
      <p:sp>
        <p:nvSpPr>
          <p:cNvPr id="320" name="Rektangel 3">
            <a:extLst>
              <a:ext uri="{FF2B5EF4-FFF2-40B4-BE49-F238E27FC236}">
                <a16:creationId xmlns:a16="http://schemas.microsoft.com/office/drawing/2014/main" id="{A09F47FE-DFF1-1FC8-8C77-CC7445ABF913}"/>
              </a:ext>
            </a:extLst>
          </p:cNvPr>
          <p:cNvSpPr/>
          <p:nvPr/>
        </p:nvSpPr>
        <p:spPr>
          <a:xfrm>
            <a:off x="3160948" y="4341895"/>
            <a:ext cx="132908" cy="134819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sv-SE"/>
            </a:defPPr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4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1pPr>
            <a:lvl2pPr marL="45720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4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2pPr>
            <a:lvl3pPr marL="91440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4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3pPr>
            <a:lvl4pPr marL="137160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4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4pPr>
            <a:lvl5pPr marL="182880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4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5pPr>
            <a:lvl6pPr marL="22860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4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6pPr>
            <a:lvl7pPr marL="27432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4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7pPr>
            <a:lvl8pPr marL="32004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4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8pPr>
            <a:lvl9pPr marL="36576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4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9pPr>
          </a:lstStyle>
          <a:p>
            <a:pPr defTabSz="685800"/>
            <a:r>
              <a:rPr lang="sv-SE" sz="563">
                <a:solidFill>
                  <a:srgbClr val="000000">
                    <a:tint val="75000"/>
                  </a:srgbClr>
                </a:solidFill>
              </a:rPr>
              <a:t>:</a:t>
            </a:r>
          </a:p>
        </p:txBody>
      </p:sp>
      <p:cxnSp>
        <p:nvCxnSpPr>
          <p:cNvPr id="367" name="Rak koppling 366">
            <a:extLst>
              <a:ext uri="{FF2B5EF4-FFF2-40B4-BE49-F238E27FC236}">
                <a16:creationId xmlns:a16="http://schemas.microsoft.com/office/drawing/2014/main" id="{70607746-0D9E-5AF2-7949-0D0F93652D07}"/>
              </a:ext>
            </a:extLst>
          </p:cNvPr>
          <p:cNvCxnSpPr/>
          <p:nvPr/>
        </p:nvCxnSpPr>
        <p:spPr>
          <a:xfrm>
            <a:off x="478614" y="1433159"/>
            <a:ext cx="5901547" cy="0"/>
          </a:xfrm>
          <a:prstGeom prst="line">
            <a:avLst/>
          </a:prstGeom>
          <a:ln w="19050" cap="rnd">
            <a:solidFill>
              <a:schemeClr val="bg1">
                <a:lumMod val="9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8" name="Rektangel: rundade hörn 367">
            <a:extLst>
              <a:ext uri="{FF2B5EF4-FFF2-40B4-BE49-F238E27FC236}">
                <a16:creationId xmlns:a16="http://schemas.microsoft.com/office/drawing/2014/main" id="{976651D3-18B1-49AC-D0B9-62C3046F62A5}"/>
              </a:ext>
            </a:extLst>
          </p:cNvPr>
          <p:cNvSpPr/>
          <p:nvPr/>
        </p:nvSpPr>
        <p:spPr>
          <a:xfrm>
            <a:off x="4472164" y="1382266"/>
            <a:ext cx="778493" cy="101787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0500" tIns="10125" rIns="40500" bIns="10125" rtlCol="0" anchor="ctr"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94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Svarsfördelning</a:t>
            </a:r>
          </a:p>
        </p:txBody>
      </p:sp>
      <p:sp>
        <p:nvSpPr>
          <p:cNvPr id="369" name="Rektangel: rundade hörn 368">
            <a:extLst>
              <a:ext uri="{FF2B5EF4-FFF2-40B4-BE49-F238E27FC236}">
                <a16:creationId xmlns:a16="http://schemas.microsoft.com/office/drawing/2014/main" id="{F4B18557-7EAA-105E-028F-C4FD53B64B30}"/>
              </a:ext>
            </a:extLst>
          </p:cNvPr>
          <p:cNvSpPr/>
          <p:nvPr/>
        </p:nvSpPr>
        <p:spPr>
          <a:xfrm>
            <a:off x="478613" y="1382266"/>
            <a:ext cx="607500" cy="101787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10125" rIns="0" bIns="10125" rtlCol="0" anchor="ctr"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94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Pulsindex</a:t>
            </a:r>
          </a:p>
        </p:txBody>
      </p:sp>
      <p:sp>
        <p:nvSpPr>
          <p:cNvPr id="370" name="Rektangel: rundade hörn 369">
            <a:extLst>
              <a:ext uri="{FF2B5EF4-FFF2-40B4-BE49-F238E27FC236}">
                <a16:creationId xmlns:a16="http://schemas.microsoft.com/office/drawing/2014/main" id="{BAC2A2E9-F2E6-E5AD-7AC3-6DCFC3357EEA}"/>
              </a:ext>
            </a:extLst>
          </p:cNvPr>
          <p:cNvSpPr/>
          <p:nvPr/>
        </p:nvSpPr>
        <p:spPr>
          <a:xfrm>
            <a:off x="1451333" y="1382266"/>
            <a:ext cx="425688" cy="101787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10125" rIns="0" bIns="10125" rtlCol="0" anchor="ctr"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</a:pPr>
            <a:r>
              <a:rPr lang="sv-SE" sz="394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Drivare</a:t>
            </a:r>
          </a:p>
        </p:txBody>
      </p:sp>
      <p:sp>
        <p:nvSpPr>
          <p:cNvPr id="371" name="Rektangel: rundade hörn 370">
            <a:extLst>
              <a:ext uri="{FF2B5EF4-FFF2-40B4-BE49-F238E27FC236}">
                <a16:creationId xmlns:a16="http://schemas.microsoft.com/office/drawing/2014/main" id="{1855FE55-6531-368A-430A-D4F208636D87}"/>
              </a:ext>
            </a:extLst>
          </p:cNvPr>
          <p:cNvSpPr/>
          <p:nvPr/>
        </p:nvSpPr>
        <p:spPr>
          <a:xfrm>
            <a:off x="2197354" y="1382266"/>
            <a:ext cx="354375" cy="101787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10125" rIns="0" bIns="10125" rtlCol="0" anchor="ctr"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94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Resultat</a:t>
            </a:r>
          </a:p>
        </p:txBody>
      </p:sp>
      <p:sp>
        <p:nvSpPr>
          <p:cNvPr id="372" name="Rektangel: rundade hörn 371">
            <a:extLst>
              <a:ext uri="{FF2B5EF4-FFF2-40B4-BE49-F238E27FC236}">
                <a16:creationId xmlns:a16="http://schemas.microsoft.com/office/drawing/2014/main" id="{D8CFBCF5-20B5-CA86-938C-3EFE2CE6AE2D}"/>
              </a:ext>
            </a:extLst>
          </p:cNvPr>
          <p:cNvSpPr/>
          <p:nvPr/>
        </p:nvSpPr>
        <p:spPr>
          <a:xfrm>
            <a:off x="2584587" y="1382266"/>
            <a:ext cx="355067" cy="101787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10125" rIns="0" bIns="10125" rtlCol="0" anchor="ctr"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94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Förändring*</a:t>
            </a:r>
          </a:p>
        </p:txBody>
      </p:sp>
      <p:sp>
        <p:nvSpPr>
          <p:cNvPr id="373" name="Rektangel: rundade hörn 372">
            <a:extLst>
              <a:ext uri="{FF2B5EF4-FFF2-40B4-BE49-F238E27FC236}">
                <a16:creationId xmlns:a16="http://schemas.microsoft.com/office/drawing/2014/main" id="{16F0C14D-483A-0B5B-9816-C7ED3BA4DA87}"/>
              </a:ext>
            </a:extLst>
          </p:cNvPr>
          <p:cNvSpPr/>
          <p:nvPr/>
        </p:nvSpPr>
        <p:spPr>
          <a:xfrm>
            <a:off x="2975998" y="1382266"/>
            <a:ext cx="354375" cy="101787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10125" rIns="0" bIns="10125" rtlCol="0" anchor="ctr"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</a:pPr>
            <a:r>
              <a:rPr lang="sv-SE" sz="394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Benchmark**</a:t>
            </a:r>
          </a:p>
        </p:txBody>
      </p:sp>
      <p:graphicFrame>
        <p:nvGraphicFramePr>
          <p:cNvPr id="297" name="Chart 5">
            <a:extLst>
              <a:ext uri="{FF2B5EF4-FFF2-40B4-BE49-F238E27FC236}">
                <a16:creationId xmlns:a16="http://schemas.microsoft.com/office/drawing/2014/main" id="{5F211DEF-62A2-4A3D-9467-34FD8010C2A5}"/>
              </a:ext>
            </a:extLst>
          </p:cNvPr>
          <p:cNvGraphicFramePr/>
          <p:nvPr/>
        </p:nvGraphicFramePr>
        <p:xfrm>
          <a:off x="3342660" y="1639281"/>
          <a:ext cx="3037500" cy="101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98" name="Frihandsfigur: Form 297">
            <a:extLst>
              <a:ext uri="{FF2B5EF4-FFF2-40B4-BE49-F238E27FC236}">
                <a16:creationId xmlns:a16="http://schemas.microsoft.com/office/drawing/2014/main" id="{3798E2BC-D8AA-BB12-BD1F-0D1A37783E87}"/>
              </a:ext>
            </a:extLst>
          </p:cNvPr>
          <p:cNvSpPr/>
          <p:nvPr/>
        </p:nvSpPr>
        <p:spPr>
          <a:xfrm>
            <a:off x="3292035" y="1636105"/>
            <a:ext cx="3138750" cy="108000"/>
          </a:xfrm>
          <a:custGeom>
            <a:avLst/>
            <a:gdLst>
              <a:gd name="connsiteX0" fmla="*/ 171497 w 5580000"/>
              <a:gd name="connsiteY0" fmla="*/ 36000 h 612000"/>
              <a:gd name="connsiteX1" fmla="*/ 90000 w 5580000"/>
              <a:gd name="connsiteY1" fmla="*/ 117497 h 612000"/>
              <a:gd name="connsiteX2" fmla="*/ 90000 w 5580000"/>
              <a:gd name="connsiteY2" fmla="*/ 494503 h 612000"/>
              <a:gd name="connsiteX3" fmla="*/ 171497 w 5580000"/>
              <a:gd name="connsiteY3" fmla="*/ 576000 h 612000"/>
              <a:gd name="connsiteX4" fmla="*/ 5408503 w 5580000"/>
              <a:gd name="connsiteY4" fmla="*/ 576000 h 612000"/>
              <a:gd name="connsiteX5" fmla="*/ 5490000 w 5580000"/>
              <a:gd name="connsiteY5" fmla="*/ 494503 h 612000"/>
              <a:gd name="connsiteX6" fmla="*/ 5490000 w 5580000"/>
              <a:gd name="connsiteY6" fmla="*/ 117497 h 612000"/>
              <a:gd name="connsiteX7" fmla="*/ 5408503 w 5580000"/>
              <a:gd name="connsiteY7" fmla="*/ 36000 h 612000"/>
              <a:gd name="connsiteX8" fmla="*/ 92363 w 5580000"/>
              <a:gd name="connsiteY8" fmla="*/ 0 h 612000"/>
              <a:gd name="connsiteX9" fmla="*/ 5487637 w 5580000"/>
              <a:gd name="connsiteY9" fmla="*/ 0 h 612000"/>
              <a:gd name="connsiteX10" fmla="*/ 5580000 w 5580000"/>
              <a:gd name="connsiteY10" fmla="*/ 92363 h 612000"/>
              <a:gd name="connsiteX11" fmla="*/ 5580000 w 5580000"/>
              <a:gd name="connsiteY11" fmla="*/ 519637 h 612000"/>
              <a:gd name="connsiteX12" fmla="*/ 5487637 w 5580000"/>
              <a:gd name="connsiteY12" fmla="*/ 612000 h 612000"/>
              <a:gd name="connsiteX13" fmla="*/ 92363 w 5580000"/>
              <a:gd name="connsiteY13" fmla="*/ 612000 h 612000"/>
              <a:gd name="connsiteX14" fmla="*/ 0 w 5580000"/>
              <a:gd name="connsiteY14" fmla="*/ 519637 h 612000"/>
              <a:gd name="connsiteX15" fmla="*/ 0 w 5580000"/>
              <a:gd name="connsiteY15" fmla="*/ 92363 h 612000"/>
              <a:gd name="connsiteX16" fmla="*/ 92363 w 5580000"/>
              <a:gd name="connsiteY16" fmla="*/ 0 h 61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580000" h="612000">
                <a:moveTo>
                  <a:pt x="171497" y="36000"/>
                </a:moveTo>
                <a:cubicBezTo>
                  <a:pt x="126487" y="36000"/>
                  <a:pt x="90000" y="72487"/>
                  <a:pt x="90000" y="117497"/>
                </a:cubicBezTo>
                <a:lnTo>
                  <a:pt x="90000" y="494503"/>
                </a:lnTo>
                <a:cubicBezTo>
                  <a:pt x="90000" y="539513"/>
                  <a:pt x="126487" y="576000"/>
                  <a:pt x="171497" y="576000"/>
                </a:cubicBezTo>
                <a:lnTo>
                  <a:pt x="5408503" y="576000"/>
                </a:lnTo>
                <a:cubicBezTo>
                  <a:pt x="5453513" y="576000"/>
                  <a:pt x="5490000" y="539513"/>
                  <a:pt x="5490000" y="494503"/>
                </a:cubicBezTo>
                <a:lnTo>
                  <a:pt x="5490000" y="117497"/>
                </a:lnTo>
                <a:cubicBezTo>
                  <a:pt x="5490000" y="72487"/>
                  <a:pt x="5453513" y="36000"/>
                  <a:pt x="5408503" y="36000"/>
                </a:cubicBezTo>
                <a:close/>
                <a:moveTo>
                  <a:pt x="92363" y="0"/>
                </a:moveTo>
                <a:lnTo>
                  <a:pt x="5487637" y="0"/>
                </a:lnTo>
                <a:cubicBezTo>
                  <a:pt x="5538648" y="0"/>
                  <a:pt x="5580000" y="41352"/>
                  <a:pt x="5580000" y="92363"/>
                </a:cubicBezTo>
                <a:lnTo>
                  <a:pt x="5580000" y="519637"/>
                </a:lnTo>
                <a:cubicBezTo>
                  <a:pt x="5580000" y="570648"/>
                  <a:pt x="5538648" y="612000"/>
                  <a:pt x="5487637" y="612000"/>
                </a:cubicBezTo>
                <a:lnTo>
                  <a:pt x="92363" y="612000"/>
                </a:lnTo>
                <a:cubicBezTo>
                  <a:pt x="41352" y="612000"/>
                  <a:pt x="0" y="570648"/>
                  <a:pt x="0" y="519637"/>
                </a:cubicBezTo>
                <a:lnTo>
                  <a:pt x="0" y="92363"/>
                </a:lnTo>
                <a:cubicBezTo>
                  <a:pt x="0" y="41352"/>
                  <a:pt x="41352" y="0"/>
                  <a:pt x="92363" y="0"/>
                </a:cubicBezTo>
                <a:close/>
              </a:path>
            </a:pathLst>
          </a:custGeom>
          <a:solidFill>
            <a:srgbClr val="FFFFFF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1013">
              <a:solidFill>
                <a:prstClr val="white"/>
              </a:solidFill>
              <a:cs typeface="Arial"/>
            </a:endParaRPr>
          </a:p>
        </p:txBody>
      </p:sp>
      <p:sp>
        <p:nvSpPr>
          <p:cNvPr id="299" name="Rektangel: rundade hörn 298">
            <a:extLst>
              <a:ext uri="{FF2B5EF4-FFF2-40B4-BE49-F238E27FC236}">
                <a16:creationId xmlns:a16="http://schemas.microsoft.com/office/drawing/2014/main" id="{DD2E3DAC-B961-A49F-A5F9-4D8279D8928F}"/>
              </a:ext>
            </a:extLst>
          </p:cNvPr>
          <p:cNvSpPr/>
          <p:nvPr/>
        </p:nvSpPr>
        <p:spPr>
          <a:xfrm>
            <a:off x="3342660" y="1642459"/>
            <a:ext cx="3037500" cy="95294"/>
          </a:xfrm>
          <a:prstGeom prst="roundRect">
            <a:avLst>
              <a:gd name="adj" fmla="val 15092"/>
            </a:avLst>
          </a:prstGeom>
          <a:noFill/>
          <a:ln w="19050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1013">
              <a:solidFill>
                <a:prstClr val="white"/>
              </a:solidFill>
              <a:cs typeface="Arial"/>
            </a:endParaRPr>
          </a:p>
        </p:txBody>
      </p:sp>
      <p:sp>
        <p:nvSpPr>
          <p:cNvPr id="374" name="Ellips 373">
            <a:extLst>
              <a:ext uri="{FF2B5EF4-FFF2-40B4-BE49-F238E27FC236}">
                <a16:creationId xmlns:a16="http://schemas.microsoft.com/office/drawing/2014/main" id="{DEE7A35E-C898-2189-0A49-FBE6629A7CA7}"/>
              </a:ext>
            </a:extLst>
          </p:cNvPr>
          <p:cNvSpPr/>
          <p:nvPr/>
        </p:nvSpPr>
        <p:spPr>
          <a:xfrm>
            <a:off x="2701370" y="1642855"/>
            <a:ext cx="94500" cy="94500"/>
          </a:xfrm>
          <a:prstGeom prst="ellipse">
            <a:avLst/>
          </a:prstGeom>
          <a:solidFill>
            <a:srgbClr val="FE9D93"/>
          </a:solidFill>
          <a:ln w="1905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</a:pPr>
            <a:r>
              <a:rPr lang="sv-SE" sz="300">
                <a:cs typeface="Arial" panose="020B0604020202020204" pitchFamily="34" charset="0"/>
              </a:rPr>
              <a:t>-4</a:t>
            </a:r>
          </a:p>
        </p:txBody>
      </p:sp>
      <p:sp>
        <p:nvSpPr>
          <p:cNvPr id="375" name="Ellips 374">
            <a:extLst>
              <a:ext uri="{FF2B5EF4-FFF2-40B4-BE49-F238E27FC236}">
                <a16:creationId xmlns:a16="http://schemas.microsoft.com/office/drawing/2014/main" id="{0BAF2B1B-C38C-D25C-44B4-4CF61752209E}"/>
              </a:ext>
            </a:extLst>
          </p:cNvPr>
          <p:cNvSpPr/>
          <p:nvPr/>
        </p:nvSpPr>
        <p:spPr>
          <a:xfrm>
            <a:off x="3092435" y="1642855"/>
            <a:ext cx="94500" cy="94500"/>
          </a:xfrm>
          <a:prstGeom prst="ellipse">
            <a:avLst/>
          </a:prstGeom>
          <a:solidFill>
            <a:srgbClr val="83E7AF"/>
          </a:solidFill>
          <a:ln w="1905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</a:pPr>
            <a:r>
              <a:rPr lang="sv-SE" sz="300">
                <a:cs typeface="Arial" panose="020B0604020202020204" pitchFamily="34" charset="0"/>
              </a:rPr>
              <a:t>+8</a:t>
            </a:r>
          </a:p>
        </p:txBody>
      </p:sp>
      <p:sp>
        <p:nvSpPr>
          <p:cNvPr id="418" name="Rektangel: rundade hörn 417">
            <a:extLst>
              <a:ext uri="{FF2B5EF4-FFF2-40B4-BE49-F238E27FC236}">
                <a16:creationId xmlns:a16="http://schemas.microsoft.com/office/drawing/2014/main" id="{EBCD745A-4C31-2A84-DBF9-D793BF0DDD45}"/>
              </a:ext>
            </a:extLst>
          </p:cNvPr>
          <p:cNvSpPr/>
          <p:nvPr/>
        </p:nvSpPr>
        <p:spPr>
          <a:xfrm>
            <a:off x="2222666" y="1636105"/>
            <a:ext cx="303750" cy="108000"/>
          </a:xfrm>
          <a:prstGeom prst="roundRect">
            <a:avLst/>
          </a:prstGeom>
          <a:noFill/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450" b="1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62</a:t>
            </a:r>
          </a:p>
        </p:txBody>
      </p:sp>
      <p:sp>
        <p:nvSpPr>
          <p:cNvPr id="440" name="Rektangel: rundade hörn 439">
            <a:extLst>
              <a:ext uri="{FF2B5EF4-FFF2-40B4-BE49-F238E27FC236}">
                <a16:creationId xmlns:a16="http://schemas.microsoft.com/office/drawing/2014/main" id="{D4F43A3C-9027-0C17-903B-0AD0D178B512}"/>
              </a:ext>
            </a:extLst>
          </p:cNvPr>
          <p:cNvSpPr/>
          <p:nvPr/>
        </p:nvSpPr>
        <p:spPr>
          <a:xfrm>
            <a:off x="1452216" y="1636105"/>
            <a:ext cx="819497" cy="108000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21500" tIns="20250" rIns="10125" bIns="20250" rtlCol="0" anchor="ctr">
            <a:normAutofit lnSpcReduction="10000"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75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Balans - Arbetsbelastning</a:t>
            </a:r>
          </a:p>
        </p:txBody>
      </p:sp>
      <p:graphicFrame>
        <p:nvGraphicFramePr>
          <p:cNvPr id="300" name="Chart 5">
            <a:extLst>
              <a:ext uri="{FF2B5EF4-FFF2-40B4-BE49-F238E27FC236}">
                <a16:creationId xmlns:a16="http://schemas.microsoft.com/office/drawing/2014/main" id="{E677E22E-5DB6-2D02-A1E2-443C2CADDAD2}"/>
              </a:ext>
            </a:extLst>
          </p:cNvPr>
          <p:cNvGraphicFramePr/>
          <p:nvPr/>
        </p:nvGraphicFramePr>
        <p:xfrm>
          <a:off x="3342660" y="1764483"/>
          <a:ext cx="3037500" cy="101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01" name="Frihandsfigur: Form 300">
            <a:extLst>
              <a:ext uri="{FF2B5EF4-FFF2-40B4-BE49-F238E27FC236}">
                <a16:creationId xmlns:a16="http://schemas.microsoft.com/office/drawing/2014/main" id="{DD8A7024-BC7D-05E4-F3CF-CC9EF5DAAC78}"/>
              </a:ext>
            </a:extLst>
          </p:cNvPr>
          <p:cNvSpPr/>
          <p:nvPr/>
        </p:nvSpPr>
        <p:spPr>
          <a:xfrm>
            <a:off x="3292035" y="1761306"/>
            <a:ext cx="3138750" cy="108000"/>
          </a:xfrm>
          <a:custGeom>
            <a:avLst/>
            <a:gdLst>
              <a:gd name="connsiteX0" fmla="*/ 171497 w 5580000"/>
              <a:gd name="connsiteY0" fmla="*/ 36000 h 612000"/>
              <a:gd name="connsiteX1" fmla="*/ 90000 w 5580000"/>
              <a:gd name="connsiteY1" fmla="*/ 117497 h 612000"/>
              <a:gd name="connsiteX2" fmla="*/ 90000 w 5580000"/>
              <a:gd name="connsiteY2" fmla="*/ 494503 h 612000"/>
              <a:gd name="connsiteX3" fmla="*/ 171497 w 5580000"/>
              <a:gd name="connsiteY3" fmla="*/ 576000 h 612000"/>
              <a:gd name="connsiteX4" fmla="*/ 5408503 w 5580000"/>
              <a:gd name="connsiteY4" fmla="*/ 576000 h 612000"/>
              <a:gd name="connsiteX5" fmla="*/ 5490000 w 5580000"/>
              <a:gd name="connsiteY5" fmla="*/ 494503 h 612000"/>
              <a:gd name="connsiteX6" fmla="*/ 5490000 w 5580000"/>
              <a:gd name="connsiteY6" fmla="*/ 117497 h 612000"/>
              <a:gd name="connsiteX7" fmla="*/ 5408503 w 5580000"/>
              <a:gd name="connsiteY7" fmla="*/ 36000 h 612000"/>
              <a:gd name="connsiteX8" fmla="*/ 92363 w 5580000"/>
              <a:gd name="connsiteY8" fmla="*/ 0 h 612000"/>
              <a:gd name="connsiteX9" fmla="*/ 5487637 w 5580000"/>
              <a:gd name="connsiteY9" fmla="*/ 0 h 612000"/>
              <a:gd name="connsiteX10" fmla="*/ 5580000 w 5580000"/>
              <a:gd name="connsiteY10" fmla="*/ 92363 h 612000"/>
              <a:gd name="connsiteX11" fmla="*/ 5580000 w 5580000"/>
              <a:gd name="connsiteY11" fmla="*/ 519637 h 612000"/>
              <a:gd name="connsiteX12" fmla="*/ 5487637 w 5580000"/>
              <a:gd name="connsiteY12" fmla="*/ 612000 h 612000"/>
              <a:gd name="connsiteX13" fmla="*/ 92363 w 5580000"/>
              <a:gd name="connsiteY13" fmla="*/ 612000 h 612000"/>
              <a:gd name="connsiteX14" fmla="*/ 0 w 5580000"/>
              <a:gd name="connsiteY14" fmla="*/ 519637 h 612000"/>
              <a:gd name="connsiteX15" fmla="*/ 0 w 5580000"/>
              <a:gd name="connsiteY15" fmla="*/ 92363 h 612000"/>
              <a:gd name="connsiteX16" fmla="*/ 92363 w 5580000"/>
              <a:gd name="connsiteY16" fmla="*/ 0 h 61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580000" h="612000">
                <a:moveTo>
                  <a:pt x="171497" y="36000"/>
                </a:moveTo>
                <a:cubicBezTo>
                  <a:pt x="126487" y="36000"/>
                  <a:pt x="90000" y="72487"/>
                  <a:pt x="90000" y="117497"/>
                </a:cubicBezTo>
                <a:lnTo>
                  <a:pt x="90000" y="494503"/>
                </a:lnTo>
                <a:cubicBezTo>
                  <a:pt x="90000" y="539513"/>
                  <a:pt x="126487" y="576000"/>
                  <a:pt x="171497" y="576000"/>
                </a:cubicBezTo>
                <a:lnTo>
                  <a:pt x="5408503" y="576000"/>
                </a:lnTo>
                <a:cubicBezTo>
                  <a:pt x="5453513" y="576000"/>
                  <a:pt x="5490000" y="539513"/>
                  <a:pt x="5490000" y="494503"/>
                </a:cubicBezTo>
                <a:lnTo>
                  <a:pt x="5490000" y="117497"/>
                </a:lnTo>
                <a:cubicBezTo>
                  <a:pt x="5490000" y="72487"/>
                  <a:pt x="5453513" y="36000"/>
                  <a:pt x="5408503" y="36000"/>
                </a:cubicBezTo>
                <a:close/>
                <a:moveTo>
                  <a:pt x="92363" y="0"/>
                </a:moveTo>
                <a:lnTo>
                  <a:pt x="5487637" y="0"/>
                </a:lnTo>
                <a:cubicBezTo>
                  <a:pt x="5538648" y="0"/>
                  <a:pt x="5580000" y="41352"/>
                  <a:pt x="5580000" y="92363"/>
                </a:cubicBezTo>
                <a:lnTo>
                  <a:pt x="5580000" y="519637"/>
                </a:lnTo>
                <a:cubicBezTo>
                  <a:pt x="5580000" y="570648"/>
                  <a:pt x="5538648" y="612000"/>
                  <a:pt x="5487637" y="612000"/>
                </a:cubicBezTo>
                <a:lnTo>
                  <a:pt x="92363" y="612000"/>
                </a:lnTo>
                <a:cubicBezTo>
                  <a:pt x="41352" y="612000"/>
                  <a:pt x="0" y="570648"/>
                  <a:pt x="0" y="519637"/>
                </a:cubicBezTo>
                <a:lnTo>
                  <a:pt x="0" y="92363"/>
                </a:lnTo>
                <a:cubicBezTo>
                  <a:pt x="0" y="41352"/>
                  <a:pt x="41352" y="0"/>
                  <a:pt x="92363" y="0"/>
                </a:cubicBezTo>
                <a:close/>
              </a:path>
            </a:pathLst>
          </a:custGeom>
          <a:solidFill>
            <a:srgbClr val="FFFFFF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1013">
              <a:solidFill>
                <a:prstClr val="white"/>
              </a:solidFill>
              <a:cs typeface="Arial"/>
            </a:endParaRPr>
          </a:p>
        </p:txBody>
      </p:sp>
      <p:sp>
        <p:nvSpPr>
          <p:cNvPr id="302" name="Rektangel: rundade hörn 301">
            <a:extLst>
              <a:ext uri="{FF2B5EF4-FFF2-40B4-BE49-F238E27FC236}">
                <a16:creationId xmlns:a16="http://schemas.microsoft.com/office/drawing/2014/main" id="{BD553D93-D391-AAC4-0FD1-23AFA7A340D2}"/>
              </a:ext>
            </a:extLst>
          </p:cNvPr>
          <p:cNvSpPr/>
          <p:nvPr/>
        </p:nvSpPr>
        <p:spPr>
          <a:xfrm>
            <a:off x="3342660" y="1767660"/>
            <a:ext cx="3037500" cy="95294"/>
          </a:xfrm>
          <a:prstGeom prst="roundRect">
            <a:avLst>
              <a:gd name="adj" fmla="val 15092"/>
            </a:avLst>
          </a:prstGeom>
          <a:noFill/>
          <a:ln w="19050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1013">
              <a:solidFill>
                <a:prstClr val="white"/>
              </a:solidFill>
              <a:cs typeface="Arial"/>
            </a:endParaRPr>
          </a:p>
        </p:txBody>
      </p:sp>
      <p:sp>
        <p:nvSpPr>
          <p:cNvPr id="376" name="Ellips 375">
            <a:extLst>
              <a:ext uri="{FF2B5EF4-FFF2-40B4-BE49-F238E27FC236}">
                <a16:creationId xmlns:a16="http://schemas.microsoft.com/office/drawing/2014/main" id="{4533EAE0-D03B-08D8-A6A3-765ECB7AA759}"/>
              </a:ext>
            </a:extLst>
          </p:cNvPr>
          <p:cNvSpPr/>
          <p:nvPr/>
        </p:nvSpPr>
        <p:spPr>
          <a:xfrm>
            <a:off x="2701370" y="1768056"/>
            <a:ext cx="94500" cy="94500"/>
          </a:xfrm>
          <a:prstGeom prst="ellipse">
            <a:avLst/>
          </a:prstGeom>
          <a:solidFill>
            <a:srgbClr val="83E7AF"/>
          </a:solidFill>
          <a:ln w="1905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</a:pPr>
            <a:r>
              <a:rPr lang="sv-SE" sz="300">
                <a:cs typeface="Arial" panose="020B0604020202020204" pitchFamily="34" charset="0"/>
              </a:rPr>
              <a:t>+3</a:t>
            </a:r>
          </a:p>
        </p:txBody>
      </p:sp>
      <p:sp>
        <p:nvSpPr>
          <p:cNvPr id="377" name="Ellips 376">
            <a:extLst>
              <a:ext uri="{FF2B5EF4-FFF2-40B4-BE49-F238E27FC236}">
                <a16:creationId xmlns:a16="http://schemas.microsoft.com/office/drawing/2014/main" id="{569F381D-A25D-D861-D8F4-C27EFB606BCA}"/>
              </a:ext>
            </a:extLst>
          </p:cNvPr>
          <p:cNvSpPr/>
          <p:nvPr/>
        </p:nvSpPr>
        <p:spPr>
          <a:xfrm>
            <a:off x="3092435" y="1768056"/>
            <a:ext cx="94500" cy="94500"/>
          </a:xfrm>
          <a:prstGeom prst="ellipse">
            <a:avLst/>
          </a:prstGeom>
          <a:solidFill>
            <a:srgbClr val="83E7AF"/>
          </a:solidFill>
          <a:ln w="1905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</a:pPr>
            <a:r>
              <a:rPr lang="sv-SE" sz="300">
                <a:cs typeface="Arial" panose="020B0604020202020204" pitchFamily="34" charset="0"/>
              </a:rPr>
              <a:t>+8</a:t>
            </a:r>
          </a:p>
        </p:txBody>
      </p:sp>
      <p:sp>
        <p:nvSpPr>
          <p:cNvPr id="419" name="Rektangel: rundade hörn 418">
            <a:extLst>
              <a:ext uri="{FF2B5EF4-FFF2-40B4-BE49-F238E27FC236}">
                <a16:creationId xmlns:a16="http://schemas.microsoft.com/office/drawing/2014/main" id="{E0F656BA-F04C-0D5E-A19B-40833BD621CD}"/>
              </a:ext>
            </a:extLst>
          </p:cNvPr>
          <p:cNvSpPr/>
          <p:nvPr/>
        </p:nvSpPr>
        <p:spPr>
          <a:xfrm>
            <a:off x="2222666" y="1761306"/>
            <a:ext cx="303750" cy="108000"/>
          </a:xfrm>
          <a:prstGeom prst="roundRect">
            <a:avLst/>
          </a:prstGeom>
          <a:noFill/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450" b="1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74</a:t>
            </a:r>
          </a:p>
        </p:txBody>
      </p:sp>
      <p:sp>
        <p:nvSpPr>
          <p:cNvPr id="441" name="Rektangel: rundade hörn 440">
            <a:extLst>
              <a:ext uri="{FF2B5EF4-FFF2-40B4-BE49-F238E27FC236}">
                <a16:creationId xmlns:a16="http://schemas.microsoft.com/office/drawing/2014/main" id="{8B4823B0-0BDB-A28E-48BE-928BC6692BFB}"/>
              </a:ext>
            </a:extLst>
          </p:cNvPr>
          <p:cNvSpPr/>
          <p:nvPr/>
        </p:nvSpPr>
        <p:spPr>
          <a:xfrm>
            <a:off x="1452216" y="1761306"/>
            <a:ext cx="819497" cy="108000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21500" tIns="20250" rIns="10125" bIns="20250" rtlCol="0" anchor="ctr">
            <a:normAutofit lnSpcReduction="10000"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75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Tydlighet - Ansvarsområden</a:t>
            </a:r>
          </a:p>
        </p:txBody>
      </p:sp>
      <p:graphicFrame>
        <p:nvGraphicFramePr>
          <p:cNvPr id="303" name="Chart 5">
            <a:extLst>
              <a:ext uri="{FF2B5EF4-FFF2-40B4-BE49-F238E27FC236}">
                <a16:creationId xmlns:a16="http://schemas.microsoft.com/office/drawing/2014/main" id="{4DC544FD-9F1F-F25D-1112-75B8977BBD34}"/>
              </a:ext>
            </a:extLst>
          </p:cNvPr>
          <p:cNvGraphicFramePr/>
          <p:nvPr/>
        </p:nvGraphicFramePr>
        <p:xfrm>
          <a:off x="3342660" y="1889684"/>
          <a:ext cx="3037500" cy="101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04" name="Frihandsfigur: Form 303">
            <a:extLst>
              <a:ext uri="{FF2B5EF4-FFF2-40B4-BE49-F238E27FC236}">
                <a16:creationId xmlns:a16="http://schemas.microsoft.com/office/drawing/2014/main" id="{6E0936FB-B781-C1BE-6840-DA660D46DFEB}"/>
              </a:ext>
            </a:extLst>
          </p:cNvPr>
          <p:cNvSpPr/>
          <p:nvPr/>
        </p:nvSpPr>
        <p:spPr>
          <a:xfrm>
            <a:off x="3292035" y="1886507"/>
            <a:ext cx="3138750" cy="108000"/>
          </a:xfrm>
          <a:custGeom>
            <a:avLst/>
            <a:gdLst>
              <a:gd name="connsiteX0" fmla="*/ 171497 w 5580000"/>
              <a:gd name="connsiteY0" fmla="*/ 36000 h 612000"/>
              <a:gd name="connsiteX1" fmla="*/ 90000 w 5580000"/>
              <a:gd name="connsiteY1" fmla="*/ 117497 h 612000"/>
              <a:gd name="connsiteX2" fmla="*/ 90000 w 5580000"/>
              <a:gd name="connsiteY2" fmla="*/ 494503 h 612000"/>
              <a:gd name="connsiteX3" fmla="*/ 171497 w 5580000"/>
              <a:gd name="connsiteY3" fmla="*/ 576000 h 612000"/>
              <a:gd name="connsiteX4" fmla="*/ 5408503 w 5580000"/>
              <a:gd name="connsiteY4" fmla="*/ 576000 h 612000"/>
              <a:gd name="connsiteX5" fmla="*/ 5490000 w 5580000"/>
              <a:gd name="connsiteY5" fmla="*/ 494503 h 612000"/>
              <a:gd name="connsiteX6" fmla="*/ 5490000 w 5580000"/>
              <a:gd name="connsiteY6" fmla="*/ 117497 h 612000"/>
              <a:gd name="connsiteX7" fmla="*/ 5408503 w 5580000"/>
              <a:gd name="connsiteY7" fmla="*/ 36000 h 612000"/>
              <a:gd name="connsiteX8" fmla="*/ 92363 w 5580000"/>
              <a:gd name="connsiteY8" fmla="*/ 0 h 612000"/>
              <a:gd name="connsiteX9" fmla="*/ 5487637 w 5580000"/>
              <a:gd name="connsiteY9" fmla="*/ 0 h 612000"/>
              <a:gd name="connsiteX10" fmla="*/ 5580000 w 5580000"/>
              <a:gd name="connsiteY10" fmla="*/ 92363 h 612000"/>
              <a:gd name="connsiteX11" fmla="*/ 5580000 w 5580000"/>
              <a:gd name="connsiteY11" fmla="*/ 519637 h 612000"/>
              <a:gd name="connsiteX12" fmla="*/ 5487637 w 5580000"/>
              <a:gd name="connsiteY12" fmla="*/ 612000 h 612000"/>
              <a:gd name="connsiteX13" fmla="*/ 92363 w 5580000"/>
              <a:gd name="connsiteY13" fmla="*/ 612000 h 612000"/>
              <a:gd name="connsiteX14" fmla="*/ 0 w 5580000"/>
              <a:gd name="connsiteY14" fmla="*/ 519637 h 612000"/>
              <a:gd name="connsiteX15" fmla="*/ 0 w 5580000"/>
              <a:gd name="connsiteY15" fmla="*/ 92363 h 612000"/>
              <a:gd name="connsiteX16" fmla="*/ 92363 w 5580000"/>
              <a:gd name="connsiteY16" fmla="*/ 0 h 61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580000" h="612000">
                <a:moveTo>
                  <a:pt x="171497" y="36000"/>
                </a:moveTo>
                <a:cubicBezTo>
                  <a:pt x="126487" y="36000"/>
                  <a:pt x="90000" y="72487"/>
                  <a:pt x="90000" y="117497"/>
                </a:cubicBezTo>
                <a:lnTo>
                  <a:pt x="90000" y="494503"/>
                </a:lnTo>
                <a:cubicBezTo>
                  <a:pt x="90000" y="539513"/>
                  <a:pt x="126487" y="576000"/>
                  <a:pt x="171497" y="576000"/>
                </a:cubicBezTo>
                <a:lnTo>
                  <a:pt x="5408503" y="576000"/>
                </a:lnTo>
                <a:cubicBezTo>
                  <a:pt x="5453513" y="576000"/>
                  <a:pt x="5490000" y="539513"/>
                  <a:pt x="5490000" y="494503"/>
                </a:cubicBezTo>
                <a:lnTo>
                  <a:pt x="5490000" y="117497"/>
                </a:lnTo>
                <a:cubicBezTo>
                  <a:pt x="5490000" y="72487"/>
                  <a:pt x="5453513" y="36000"/>
                  <a:pt x="5408503" y="36000"/>
                </a:cubicBezTo>
                <a:close/>
                <a:moveTo>
                  <a:pt x="92363" y="0"/>
                </a:moveTo>
                <a:lnTo>
                  <a:pt x="5487637" y="0"/>
                </a:lnTo>
                <a:cubicBezTo>
                  <a:pt x="5538648" y="0"/>
                  <a:pt x="5580000" y="41352"/>
                  <a:pt x="5580000" y="92363"/>
                </a:cubicBezTo>
                <a:lnTo>
                  <a:pt x="5580000" y="519637"/>
                </a:lnTo>
                <a:cubicBezTo>
                  <a:pt x="5580000" y="570648"/>
                  <a:pt x="5538648" y="612000"/>
                  <a:pt x="5487637" y="612000"/>
                </a:cubicBezTo>
                <a:lnTo>
                  <a:pt x="92363" y="612000"/>
                </a:lnTo>
                <a:cubicBezTo>
                  <a:pt x="41352" y="612000"/>
                  <a:pt x="0" y="570648"/>
                  <a:pt x="0" y="519637"/>
                </a:cubicBezTo>
                <a:lnTo>
                  <a:pt x="0" y="92363"/>
                </a:lnTo>
                <a:cubicBezTo>
                  <a:pt x="0" y="41352"/>
                  <a:pt x="41352" y="0"/>
                  <a:pt x="92363" y="0"/>
                </a:cubicBezTo>
                <a:close/>
              </a:path>
            </a:pathLst>
          </a:custGeom>
          <a:solidFill>
            <a:srgbClr val="FFFFFF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1013">
              <a:solidFill>
                <a:prstClr val="white"/>
              </a:solidFill>
              <a:cs typeface="Arial"/>
            </a:endParaRPr>
          </a:p>
        </p:txBody>
      </p:sp>
      <p:sp>
        <p:nvSpPr>
          <p:cNvPr id="305" name="Rektangel: rundade hörn 304">
            <a:extLst>
              <a:ext uri="{FF2B5EF4-FFF2-40B4-BE49-F238E27FC236}">
                <a16:creationId xmlns:a16="http://schemas.microsoft.com/office/drawing/2014/main" id="{C2DDB9DB-5021-BB2F-FF6E-C776BFCA49D3}"/>
              </a:ext>
            </a:extLst>
          </p:cNvPr>
          <p:cNvSpPr/>
          <p:nvPr/>
        </p:nvSpPr>
        <p:spPr>
          <a:xfrm>
            <a:off x="3342660" y="1892861"/>
            <a:ext cx="3037500" cy="95294"/>
          </a:xfrm>
          <a:prstGeom prst="roundRect">
            <a:avLst>
              <a:gd name="adj" fmla="val 15092"/>
            </a:avLst>
          </a:prstGeom>
          <a:noFill/>
          <a:ln w="19050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1013">
              <a:solidFill>
                <a:prstClr val="white"/>
              </a:solidFill>
              <a:cs typeface="Arial"/>
            </a:endParaRPr>
          </a:p>
        </p:txBody>
      </p:sp>
      <p:sp>
        <p:nvSpPr>
          <p:cNvPr id="378" name="Ellips 377">
            <a:extLst>
              <a:ext uri="{FF2B5EF4-FFF2-40B4-BE49-F238E27FC236}">
                <a16:creationId xmlns:a16="http://schemas.microsoft.com/office/drawing/2014/main" id="{FD272404-6446-CF4C-C7A3-2468EE05925F}"/>
              </a:ext>
            </a:extLst>
          </p:cNvPr>
          <p:cNvSpPr/>
          <p:nvPr/>
        </p:nvSpPr>
        <p:spPr>
          <a:xfrm>
            <a:off x="3092435" y="1893257"/>
            <a:ext cx="94500" cy="94500"/>
          </a:xfrm>
          <a:prstGeom prst="ellipse">
            <a:avLst/>
          </a:prstGeom>
          <a:solidFill>
            <a:srgbClr val="83E7AF"/>
          </a:solidFill>
          <a:ln w="1905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00">
                <a:cs typeface="Arial" panose="020B0604020202020204" pitchFamily="34" charset="0"/>
              </a:rPr>
              <a:t>+6</a:t>
            </a:r>
          </a:p>
        </p:txBody>
      </p:sp>
      <p:sp>
        <p:nvSpPr>
          <p:cNvPr id="379" name="Ellips 378">
            <a:extLst>
              <a:ext uri="{FF2B5EF4-FFF2-40B4-BE49-F238E27FC236}">
                <a16:creationId xmlns:a16="http://schemas.microsoft.com/office/drawing/2014/main" id="{A10936D8-C530-FFF6-42D4-08F1E430D2C9}"/>
              </a:ext>
            </a:extLst>
          </p:cNvPr>
          <p:cNvSpPr/>
          <p:nvPr/>
        </p:nvSpPr>
        <p:spPr>
          <a:xfrm>
            <a:off x="2701370" y="1893257"/>
            <a:ext cx="94500" cy="94500"/>
          </a:xfrm>
          <a:prstGeom prst="ellipse">
            <a:avLst/>
          </a:prstGeom>
          <a:solidFill>
            <a:srgbClr val="FE9D93"/>
          </a:solidFill>
          <a:ln w="1905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00">
                <a:cs typeface="Arial" panose="020B0604020202020204" pitchFamily="34" charset="0"/>
              </a:rPr>
              <a:t>-3</a:t>
            </a:r>
          </a:p>
        </p:txBody>
      </p:sp>
      <p:sp>
        <p:nvSpPr>
          <p:cNvPr id="420" name="Rektangel: rundade hörn 419">
            <a:extLst>
              <a:ext uri="{FF2B5EF4-FFF2-40B4-BE49-F238E27FC236}">
                <a16:creationId xmlns:a16="http://schemas.microsoft.com/office/drawing/2014/main" id="{CA6C5E6D-5A95-0DF9-70D4-8A05C4BEEFB2}"/>
              </a:ext>
            </a:extLst>
          </p:cNvPr>
          <p:cNvSpPr/>
          <p:nvPr/>
        </p:nvSpPr>
        <p:spPr>
          <a:xfrm>
            <a:off x="2222666" y="1886507"/>
            <a:ext cx="303750" cy="108000"/>
          </a:xfrm>
          <a:prstGeom prst="roundRect">
            <a:avLst/>
          </a:prstGeom>
          <a:noFill/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450" b="1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68</a:t>
            </a:r>
          </a:p>
        </p:txBody>
      </p:sp>
      <p:sp>
        <p:nvSpPr>
          <p:cNvPr id="442" name="Rektangel: rundade hörn 441">
            <a:extLst>
              <a:ext uri="{FF2B5EF4-FFF2-40B4-BE49-F238E27FC236}">
                <a16:creationId xmlns:a16="http://schemas.microsoft.com/office/drawing/2014/main" id="{F1E1F66A-318F-FA90-D1C0-B5866945F3D2}"/>
              </a:ext>
            </a:extLst>
          </p:cNvPr>
          <p:cNvSpPr/>
          <p:nvPr/>
        </p:nvSpPr>
        <p:spPr>
          <a:xfrm>
            <a:off x="1452216" y="1886507"/>
            <a:ext cx="819497" cy="108000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21500" tIns="20250" rIns="10125" bIns="20250" rtlCol="0" anchor="ctr">
            <a:normAutofit lnSpcReduction="10000"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75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Effektivitet</a:t>
            </a:r>
          </a:p>
        </p:txBody>
      </p:sp>
      <p:graphicFrame>
        <p:nvGraphicFramePr>
          <p:cNvPr id="306" name="Chart 5">
            <a:extLst>
              <a:ext uri="{FF2B5EF4-FFF2-40B4-BE49-F238E27FC236}">
                <a16:creationId xmlns:a16="http://schemas.microsoft.com/office/drawing/2014/main" id="{D9827437-093D-B840-D8F1-433D699AEF88}"/>
              </a:ext>
            </a:extLst>
          </p:cNvPr>
          <p:cNvGraphicFramePr/>
          <p:nvPr/>
        </p:nvGraphicFramePr>
        <p:xfrm>
          <a:off x="3342660" y="2014885"/>
          <a:ext cx="3037500" cy="101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07" name="Frihandsfigur: Form 306">
            <a:extLst>
              <a:ext uri="{FF2B5EF4-FFF2-40B4-BE49-F238E27FC236}">
                <a16:creationId xmlns:a16="http://schemas.microsoft.com/office/drawing/2014/main" id="{25987CE9-FC83-06FE-9CFD-AC3289D1C0EF}"/>
              </a:ext>
            </a:extLst>
          </p:cNvPr>
          <p:cNvSpPr/>
          <p:nvPr/>
        </p:nvSpPr>
        <p:spPr>
          <a:xfrm>
            <a:off x="3292035" y="2011709"/>
            <a:ext cx="3138750" cy="108000"/>
          </a:xfrm>
          <a:custGeom>
            <a:avLst/>
            <a:gdLst>
              <a:gd name="connsiteX0" fmla="*/ 171497 w 5580000"/>
              <a:gd name="connsiteY0" fmla="*/ 36000 h 612000"/>
              <a:gd name="connsiteX1" fmla="*/ 90000 w 5580000"/>
              <a:gd name="connsiteY1" fmla="*/ 117497 h 612000"/>
              <a:gd name="connsiteX2" fmla="*/ 90000 w 5580000"/>
              <a:gd name="connsiteY2" fmla="*/ 494503 h 612000"/>
              <a:gd name="connsiteX3" fmla="*/ 171497 w 5580000"/>
              <a:gd name="connsiteY3" fmla="*/ 576000 h 612000"/>
              <a:gd name="connsiteX4" fmla="*/ 5408503 w 5580000"/>
              <a:gd name="connsiteY4" fmla="*/ 576000 h 612000"/>
              <a:gd name="connsiteX5" fmla="*/ 5490000 w 5580000"/>
              <a:gd name="connsiteY5" fmla="*/ 494503 h 612000"/>
              <a:gd name="connsiteX6" fmla="*/ 5490000 w 5580000"/>
              <a:gd name="connsiteY6" fmla="*/ 117497 h 612000"/>
              <a:gd name="connsiteX7" fmla="*/ 5408503 w 5580000"/>
              <a:gd name="connsiteY7" fmla="*/ 36000 h 612000"/>
              <a:gd name="connsiteX8" fmla="*/ 92363 w 5580000"/>
              <a:gd name="connsiteY8" fmla="*/ 0 h 612000"/>
              <a:gd name="connsiteX9" fmla="*/ 5487637 w 5580000"/>
              <a:gd name="connsiteY9" fmla="*/ 0 h 612000"/>
              <a:gd name="connsiteX10" fmla="*/ 5580000 w 5580000"/>
              <a:gd name="connsiteY10" fmla="*/ 92363 h 612000"/>
              <a:gd name="connsiteX11" fmla="*/ 5580000 w 5580000"/>
              <a:gd name="connsiteY11" fmla="*/ 519637 h 612000"/>
              <a:gd name="connsiteX12" fmla="*/ 5487637 w 5580000"/>
              <a:gd name="connsiteY12" fmla="*/ 612000 h 612000"/>
              <a:gd name="connsiteX13" fmla="*/ 92363 w 5580000"/>
              <a:gd name="connsiteY13" fmla="*/ 612000 h 612000"/>
              <a:gd name="connsiteX14" fmla="*/ 0 w 5580000"/>
              <a:gd name="connsiteY14" fmla="*/ 519637 h 612000"/>
              <a:gd name="connsiteX15" fmla="*/ 0 w 5580000"/>
              <a:gd name="connsiteY15" fmla="*/ 92363 h 612000"/>
              <a:gd name="connsiteX16" fmla="*/ 92363 w 5580000"/>
              <a:gd name="connsiteY16" fmla="*/ 0 h 61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580000" h="612000">
                <a:moveTo>
                  <a:pt x="171497" y="36000"/>
                </a:moveTo>
                <a:cubicBezTo>
                  <a:pt x="126487" y="36000"/>
                  <a:pt x="90000" y="72487"/>
                  <a:pt x="90000" y="117497"/>
                </a:cubicBezTo>
                <a:lnTo>
                  <a:pt x="90000" y="494503"/>
                </a:lnTo>
                <a:cubicBezTo>
                  <a:pt x="90000" y="539513"/>
                  <a:pt x="126487" y="576000"/>
                  <a:pt x="171497" y="576000"/>
                </a:cubicBezTo>
                <a:lnTo>
                  <a:pt x="5408503" y="576000"/>
                </a:lnTo>
                <a:cubicBezTo>
                  <a:pt x="5453513" y="576000"/>
                  <a:pt x="5490000" y="539513"/>
                  <a:pt x="5490000" y="494503"/>
                </a:cubicBezTo>
                <a:lnTo>
                  <a:pt x="5490000" y="117497"/>
                </a:lnTo>
                <a:cubicBezTo>
                  <a:pt x="5490000" y="72487"/>
                  <a:pt x="5453513" y="36000"/>
                  <a:pt x="5408503" y="36000"/>
                </a:cubicBezTo>
                <a:close/>
                <a:moveTo>
                  <a:pt x="92363" y="0"/>
                </a:moveTo>
                <a:lnTo>
                  <a:pt x="5487637" y="0"/>
                </a:lnTo>
                <a:cubicBezTo>
                  <a:pt x="5538648" y="0"/>
                  <a:pt x="5580000" y="41352"/>
                  <a:pt x="5580000" y="92363"/>
                </a:cubicBezTo>
                <a:lnTo>
                  <a:pt x="5580000" y="519637"/>
                </a:lnTo>
                <a:cubicBezTo>
                  <a:pt x="5580000" y="570648"/>
                  <a:pt x="5538648" y="612000"/>
                  <a:pt x="5487637" y="612000"/>
                </a:cubicBezTo>
                <a:lnTo>
                  <a:pt x="92363" y="612000"/>
                </a:lnTo>
                <a:cubicBezTo>
                  <a:pt x="41352" y="612000"/>
                  <a:pt x="0" y="570648"/>
                  <a:pt x="0" y="519637"/>
                </a:cubicBezTo>
                <a:lnTo>
                  <a:pt x="0" y="92363"/>
                </a:lnTo>
                <a:cubicBezTo>
                  <a:pt x="0" y="41352"/>
                  <a:pt x="41352" y="0"/>
                  <a:pt x="92363" y="0"/>
                </a:cubicBezTo>
                <a:close/>
              </a:path>
            </a:pathLst>
          </a:custGeom>
          <a:solidFill>
            <a:srgbClr val="FFFFFF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1013">
              <a:solidFill>
                <a:prstClr val="white"/>
              </a:solidFill>
              <a:cs typeface="Arial"/>
            </a:endParaRPr>
          </a:p>
        </p:txBody>
      </p:sp>
      <p:sp>
        <p:nvSpPr>
          <p:cNvPr id="308" name="Rektangel: rundade hörn 307">
            <a:extLst>
              <a:ext uri="{FF2B5EF4-FFF2-40B4-BE49-F238E27FC236}">
                <a16:creationId xmlns:a16="http://schemas.microsoft.com/office/drawing/2014/main" id="{0F41FCDF-42D6-CAD1-70C7-16E742F4B3C1}"/>
              </a:ext>
            </a:extLst>
          </p:cNvPr>
          <p:cNvSpPr/>
          <p:nvPr/>
        </p:nvSpPr>
        <p:spPr>
          <a:xfrm>
            <a:off x="3342660" y="2018062"/>
            <a:ext cx="3037500" cy="95294"/>
          </a:xfrm>
          <a:prstGeom prst="roundRect">
            <a:avLst>
              <a:gd name="adj" fmla="val 15092"/>
            </a:avLst>
          </a:prstGeom>
          <a:noFill/>
          <a:ln w="19050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1013">
              <a:solidFill>
                <a:prstClr val="white"/>
              </a:solidFill>
              <a:cs typeface="Arial"/>
            </a:endParaRPr>
          </a:p>
        </p:txBody>
      </p:sp>
      <p:sp>
        <p:nvSpPr>
          <p:cNvPr id="380" name="Ellips 379">
            <a:extLst>
              <a:ext uri="{FF2B5EF4-FFF2-40B4-BE49-F238E27FC236}">
                <a16:creationId xmlns:a16="http://schemas.microsoft.com/office/drawing/2014/main" id="{6F779AF3-84B7-9621-C905-A9B5A5C56EFE}"/>
              </a:ext>
            </a:extLst>
          </p:cNvPr>
          <p:cNvSpPr/>
          <p:nvPr/>
        </p:nvSpPr>
        <p:spPr>
          <a:xfrm>
            <a:off x="2701370" y="2018459"/>
            <a:ext cx="94500" cy="94500"/>
          </a:xfrm>
          <a:prstGeom prst="ellipse">
            <a:avLst/>
          </a:prstGeom>
          <a:solidFill>
            <a:srgbClr val="83E7AF"/>
          </a:solidFill>
          <a:ln w="1905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</a:pPr>
            <a:r>
              <a:rPr lang="sv-SE" sz="300">
                <a:cs typeface="Arial" panose="020B0604020202020204" pitchFamily="34" charset="0"/>
              </a:rPr>
              <a:t>+1</a:t>
            </a:r>
          </a:p>
        </p:txBody>
      </p:sp>
      <p:sp>
        <p:nvSpPr>
          <p:cNvPr id="381" name="Ellips 380">
            <a:extLst>
              <a:ext uri="{FF2B5EF4-FFF2-40B4-BE49-F238E27FC236}">
                <a16:creationId xmlns:a16="http://schemas.microsoft.com/office/drawing/2014/main" id="{2CF03183-41B9-55A5-B97E-72D2F786436E}"/>
              </a:ext>
            </a:extLst>
          </p:cNvPr>
          <p:cNvSpPr/>
          <p:nvPr/>
        </p:nvSpPr>
        <p:spPr>
          <a:xfrm>
            <a:off x="3092435" y="2018459"/>
            <a:ext cx="94500" cy="94500"/>
          </a:xfrm>
          <a:prstGeom prst="ellipse">
            <a:avLst/>
          </a:prstGeom>
          <a:solidFill>
            <a:srgbClr val="FE9D93"/>
          </a:solidFill>
          <a:ln w="1905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</a:pPr>
            <a:r>
              <a:rPr lang="sv-SE" sz="300">
                <a:cs typeface="Arial" panose="020B0604020202020204" pitchFamily="34" charset="0"/>
              </a:rPr>
              <a:t>-1</a:t>
            </a:r>
          </a:p>
        </p:txBody>
      </p:sp>
      <p:sp>
        <p:nvSpPr>
          <p:cNvPr id="421" name="Rektangel: rundade hörn 420">
            <a:extLst>
              <a:ext uri="{FF2B5EF4-FFF2-40B4-BE49-F238E27FC236}">
                <a16:creationId xmlns:a16="http://schemas.microsoft.com/office/drawing/2014/main" id="{C54037F5-5AF7-1C88-2CF3-534576DB9754}"/>
              </a:ext>
            </a:extLst>
          </p:cNvPr>
          <p:cNvSpPr/>
          <p:nvPr/>
        </p:nvSpPr>
        <p:spPr>
          <a:xfrm>
            <a:off x="2222666" y="2011709"/>
            <a:ext cx="303750" cy="108000"/>
          </a:xfrm>
          <a:prstGeom prst="roundRect">
            <a:avLst/>
          </a:prstGeom>
          <a:noFill/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450" b="1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73</a:t>
            </a:r>
          </a:p>
        </p:txBody>
      </p:sp>
      <p:sp>
        <p:nvSpPr>
          <p:cNvPr id="443" name="Rektangel: rundade hörn 442">
            <a:extLst>
              <a:ext uri="{FF2B5EF4-FFF2-40B4-BE49-F238E27FC236}">
                <a16:creationId xmlns:a16="http://schemas.microsoft.com/office/drawing/2014/main" id="{95B6F703-2E23-BFB1-2797-1BFD8B337BD2}"/>
              </a:ext>
            </a:extLst>
          </p:cNvPr>
          <p:cNvSpPr/>
          <p:nvPr/>
        </p:nvSpPr>
        <p:spPr>
          <a:xfrm>
            <a:off x="1452216" y="2011709"/>
            <a:ext cx="819497" cy="108000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21500" tIns="20250" rIns="10125" bIns="20250" rtlCol="0" anchor="ctr">
            <a:normAutofit lnSpcReduction="10000"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75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Entusiasm</a:t>
            </a:r>
          </a:p>
        </p:txBody>
      </p:sp>
      <p:graphicFrame>
        <p:nvGraphicFramePr>
          <p:cNvPr id="309" name="Chart 5">
            <a:extLst>
              <a:ext uri="{FF2B5EF4-FFF2-40B4-BE49-F238E27FC236}">
                <a16:creationId xmlns:a16="http://schemas.microsoft.com/office/drawing/2014/main" id="{C006D2C9-7047-AAE2-D0DB-D84B264981C4}"/>
              </a:ext>
            </a:extLst>
          </p:cNvPr>
          <p:cNvGraphicFramePr/>
          <p:nvPr/>
        </p:nvGraphicFramePr>
        <p:xfrm>
          <a:off x="3342660" y="2140086"/>
          <a:ext cx="3037500" cy="101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10" name="Frihandsfigur: Form 309">
            <a:extLst>
              <a:ext uri="{FF2B5EF4-FFF2-40B4-BE49-F238E27FC236}">
                <a16:creationId xmlns:a16="http://schemas.microsoft.com/office/drawing/2014/main" id="{1BABCB52-7712-8A2C-4C3E-C60D4DAF68B6}"/>
              </a:ext>
            </a:extLst>
          </p:cNvPr>
          <p:cNvSpPr/>
          <p:nvPr/>
        </p:nvSpPr>
        <p:spPr>
          <a:xfrm>
            <a:off x="3292035" y="2136910"/>
            <a:ext cx="3138750" cy="108000"/>
          </a:xfrm>
          <a:custGeom>
            <a:avLst/>
            <a:gdLst>
              <a:gd name="connsiteX0" fmla="*/ 171497 w 5580000"/>
              <a:gd name="connsiteY0" fmla="*/ 36000 h 612000"/>
              <a:gd name="connsiteX1" fmla="*/ 90000 w 5580000"/>
              <a:gd name="connsiteY1" fmla="*/ 117497 h 612000"/>
              <a:gd name="connsiteX2" fmla="*/ 90000 w 5580000"/>
              <a:gd name="connsiteY2" fmla="*/ 494503 h 612000"/>
              <a:gd name="connsiteX3" fmla="*/ 171497 w 5580000"/>
              <a:gd name="connsiteY3" fmla="*/ 576000 h 612000"/>
              <a:gd name="connsiteX4" fmla="*/ 5408503 w 5580000"/>
              <a:gd name="connsiteY4" fmla="*/ 576000 h 612000"/>
              <a:gd name="connsiteX5" fmla="*/ 5490000 w 5580000"/>
              <a:gd name="connsiteY5" fmla="*/ 494503 h 612000"/>
              <a:gd name="connsiteX6" fmla="*/ 5490000 w 5580000"/>
              <a:gd name="connsiteY6" fmla="*/ 117497 h 612000"/>
              <a:gd name="connsiteX7" fmla="*/ 5408503 w 5580000"/>
              <a:gd name="connsiteY7" fmla="*/ 36000 h 612000"/>
              <a:gd name="connsiteX8" fmla="*/ 92363 w 5580000"/>
              <a:gd name="connsiteY8" fmla="*/ 0 h 612000"/>
              <a:gd name="connsiteX9" fmla="*/ 5487637 w 5580000"/>
              <a:gd name="connsiteY9" fmla="*/ 0 h 612000"/>
              <a:gd name="connsiteX10" fmla="*/ 5580000 w 5580000"/>
              <a:gd name="connsiteY10" fmla="*/ 92363 h 612000"/>
              <a:gd name="connsiteX11" fmla="*/ 5580000 w 5580000"/>
              <a:gd name="connsiteY11" fmla="*/ 519637 h 612000"/>
              <a:gd name="connsiteX12" fmla="*/ 5487637 w 5580000"/>
              <a:gd name="connsiteY12" fmla="*/ 612000 h 612000"/>
              <a:gd name="connsiteX13" fmla="*/ 92363 w 5580000"/>
              <a:gd name="connsiteY13" fmla="*/ 612000 h 612000"/>
              <a:gd name="connsiteX14" fmla="*/ 0 w 5580000"/>
              <a:gd name="connsiteY14" fmla="*/ 519637 h 612000"/>
              <a:gd name="connsiteX15" fmla="*/ 0 w 5580000"/>
              <a:gd name="connsiteY15" fmla="*/ 92363 h 612000"/>
              <a:gd name="connsiteX16" fmla="*/ 92363 w 5580000"/>
              <a:gd name="connsiteY16" fmla="*/ 0 h 61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580000" h="612000">
                <a:moveTo>
                  <a:pt x="171497" y="36000"/>
                </a:moveTo>
                <a:cubicBezTo>
                  <a:pt x="126487" y="36000"/>
                  <a:pt x="90000" y="72487"/>
                  <a:pt x="90000" y="117497"/>
                </a:cubicBezTo>
                <a:lnTo>
                  <a:pt x="90000" y="494503"/>
                </a:lnTo>
                <a:cubicBezTo>
                  <a:pt x="90000" y="539513"/>
                  <a:pt x="126487" y="576000"/>
                  <a:pt x="171497" y="576000"/>
                </a:cubicBezTo>
                <a:lnTo>
                  <a:pt x="5408503" y="576000"/>
                </a:lnTo>
                <a:cubicBezTo>
                  <a:pt x="5453513" y="576000"/>
                  <a:pt x="5490000" y="539513"/>
                  <a:pt x="5490000" y="494503"/>
                </a:cubicBezTo>
                <a:lnTo>
                  <a:pt x="5490000" y="117497"/>
                </a:lnTo>
                <a:cubicBezTo>
                  <a:pt x="5490000" y="72487"/>
                  <a:pt x="5453513" y="36000"/>
                  <a:pt x="5408503" y="36000"/>
                </a:cubicBezTo>
                <a:close/>
                <a:moveTo>
                  <a:pt x="92363" y="0"/>
                </a:moveTo>
                <a:lnTo>
                  <a:pt x="5487637" y="0"/>
                </a:lnTo>
                <a:cubicBezTo>
                  <a:pt x="5538648" y="0"/>
                  <a:pt x="5580000" y="41352"/>
                  <a:pt x="5580000" y="92363"/>
                </a:cubicBezTo>
                <a:lnTo>
                  <a:pt x="5580000" y="519637"/>
                </a:lnTo>
                <a:cubicBezTo>
                  <a:pt x="5580000" y="570648"/>
                  <a:pt x="5538648" y="612000"/>
                  <a:pt x="5487637" y="612000"/>
                </a:cubicBezTo>
                <a:lnTo>
                  <a:pt x="92363" y="612000"/>
                </a:lnTo>
                <a:cubicBezTo>
                  <a:pt x="41352" y="612000"/>
                  <a:pt x="0" y="570648"/>
                  <a:pt x="0" y="519637"/>
                </a:cubicBezTo>
                <a:lnTo>
                  <a:pt x="0" y="92363"/>
                </a:lnTo>
                <a:cubicBezTo>
                  <a:pt x="0" y="41352"/>
                  <a:pt x="41352" y="0"/>
                  <a:pt x="92363" y="0"/>
                </a:cubicBezTo>
                <a:close/>
              </a:path>
            </a:pathLst>
          </a:custGeom>
          <a:solidFill>
            <a:srgbClr val="FFFFFF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1013">
              <a:solidFill>
                <a:prstClr val="white"/>
              </a:solidFill>
              <a:cs typeface="Arial"/>
            </a:endParaRPr>
          </a:p>
        </p:txBody>
      </p:sp>
      <p:sp>
        <p:nvSpPr>
          <p:cNvPr id="311" name="Rektangel: rundade hörn 310">
            <a:extLst>
              <a:ext uri="{FF2B5EF4-FFF2-40B4-BE49-F238E27FC236}">
                <a16:creationId xmlns:a16="http://schemas.microsoft.com/office/drawing/2014/main" id="{215622A9-1FB8-25CE-445E-00066C1BD638}"/>
              </a:ext>
            </a:extLst>
          </p:cNvPr>
          <p:cNvSpPr/>
          <p:nvPr/>
        </p:nvSpPr>
        <p:spPr>
          <a:xfrm>
            <a:off x="3342660" y="2143264"/>
            <a:ext cx="3037500" cy="95294"/>
          </a:xfrm>
          <a:prstGeom prst="roundRect">
            <a:avLst>
              <a:gd name="adj" fmla="val 15092"/>
            </a:avLst>
          </a:prstGeom>
          <a:noFill/>
          <a:ln w="19050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1013">
              <a:solidFill>
                <a:prstClr val="white"/>
              </a:solidFill>
              <a:cs typeface="Arial"/>
            </a:endParaRPr>
          </a:p>
        </p:txBody>
      </p:sp>
      <p:sp>
        <p:nvSpPr>
          <p:cNvPr id="382" name="Ellips 381">
            <a:extLst>
              <a:ext uri="{FF2B5EF4-FFF2-40B4-BE49-F238E27FC236}">
                <a16:creationId xmlns:a16="http://schemas.microsoft.com/office/drawing/2014/main" id="{A6480087-D218-BF3B-8E8F-DABA9E75E5B9}"/>
              </a:ext>
            </a:extLst>
          </p:cNvPr>
          <p:cNvSpPr/>
          <p:nvPr/>
        </p:nvSpPr>
        <p:spPr>
          <a:xfrm>
            <a:off x="2701370" y="2143660"/>
            <a:ext cx="94500" cy="94500"/>
          </a:xfrm>
          <a:prstGeom prst="ellipse">
            <a:avLst/>
          </a:prstGeom>
          <a:solidFill>
            <a:srgbClr val="83E7AF"/>
          </a:solidFill>
          <a:ln w="1905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00">
                <a:cs typeface="Arial" panose="020B0604020202020204" pitchFamily="34" charset="0"/>
              </a:rPr>
              <a:t>+4</a:t>
            </a:r>
          </a:p>
        </p:txBody>
      </p:sp>
      <p:sp>
        <p:nvSpPr>
          <p:cNvPr id="383" name="Ellips 382">
            <a:extLst>
              <a:ext uri="{FF2B5EF4-FFF2-40B4-BE49-F238E27FC236}">
                <a16:creationId xmlns:a16="http://schemas.microsoft.com/office/drawing/2014/main" id="{A1E1533C-012B-1082-50B3-31F321BA3153}"/>
              </a:ext>
            </a:extLst>
          </p:cNvPr>
          <p:cNvSpPr/>
          <p:nvPr/>
        </p:nvSpPr>
        <p:spPr>
          <a:xfrm>
            <a:off x="3092435" y="2143660"/>
            <a:ext cx="94500" cy="94500"/>
          </a:xfrm>
          <a:prstGeom prst="ellipse">
            <a:avLst/>
          </a:prstGeom>
          <a:solidFill>
            <a:srgbClr val="83E7AF"/>
          </a:solidFill>
          <a:ln w="1905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00">
                <a:cs typeface="Arial" panose="020B0604020202020204" pitchFamily="34" charset="0"/>
              </a:rPr>
              <a:t>+6</a:t>
            </a:r>
          </a:p>
        </p:txBody>
      </p:sp>
      <p:sp>
        <p:nvSpPr>
          <p:cNvPr id="422" name="Rektangel: rundade hörn 421">
            <a:extLst>
              <a:ext uri="{FF2B5EF4-FFF2-40B4-BE49-F238E27FC236}">
                <a16:creationId xmlns:a16="http://schemas.microsoft.com/office/drawing/2014/main" id="{B97661B1-1DD2-B5F3-D84A-B9552A204EC2}"/>
              </a:ext>
            </a:extLst>
          </p:cNvPr>
          <p:cNvSpPr/>
          <p:nvPr/>
        </p:nvSpPr>
        <p:spPr>
          <a:xfrm>
            <a:off x="2222666" y="2136910"/>
            <a:ext cx="303750" cy="108000"/>
          </a:xfrm>
          <a:prstGeom prst="roundRect">
            <a:avLst/>
          </a:prstGeom>
          <a:noFill/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450" b="1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81</a:t>
            </a:r>
          </a:p>
        </p:txBody>
      </p:sp>
      <p:sp>
        <p:nvSpPr>
          <p:cNvPr id="444" name="Rektangel: rundade hörn 443">
            <a:extLst>
              <a:ext uri="{FF2B5EF4-FFF2-40B4-BE49-F238E27FC236}">
                <a16:creationId xmlns:a16="http://schemas.microsoft.com/office/drawing/2014/main" id="{8A3BBE95-04C5-6D3A-236D-0B889DA67905}"/>
              </a:ext>
            </a:extLst>
          </p:cNvPr>
          <p:cNvSpPr/>
          <p:nvPr/>
        </p:nvSpPr>
        <p:spPr>
          <a:xfrm>
            <a:off x="1452216" y="2136910"/>
            <a:ext cx="819497" cy="108000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21500" tIns="20250" rIns="10125" bIns="20250" rtlCol="0" anchor="ctr">
            <a:normAutofit lnSpcReduction="10000"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75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Inkludering</a:t>
            </a:r>
          </a:p>
        </p:txBody>
      </p:sp>
      <p:graphicFrame>
        <p:nvGraphicFramePr>
          <p:cNvPr id="312" name="Chart 5">
            <a:extLst>
              <a:ext uri="{FF2B5EF4-FFF2-40B4-BE49-F238E27FC236}">
                <a16:creationId xmlns:a16="http://schemas.microsoft.com/office/drawing/2014/main" id="{E30442F5-4C82-E836-E838-000BAB46AA20}"/>
              </a:ext>
            </a:extLst>
          </p:cNvPr>
          <p:cNvGraphicFramePr/>
          <p:nvPr/>
        </p:nvGraphicFramePr>
        <p:xfrm>
          <a:off x="3342660" y="1514080"/>
          <a:ext cx="3037500" cy="101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13" name="Frihandsfigur: Form 312">
            <a:extLst>
              <a:ext uri="{FF2B5EF4-FFF2-40B4-BE49-F238E27FC236}">
                <a16:creationId xmlns:a16="http://schemas.microsoft.com/office/drawing/2014/main" id="{FBFEF2F4-8AAD-70A5-87D7-A1A3276301AA}"/>
              </a:ext>
            </a:extLst>
          </p:cNvPr>
          <p:cNvSpPr/>
          <p:nvPr/>
        </p:nvSpPr>
        <p:spPr>
          <a:xfrm>
            <a:off x="3292035" y="1510904"/>
            <a:ext cx="3138750" cy="108000"/>
          </a:xfrm>
          <a:custGeom>
            <a:avLst/>
            <a:gdLst>
              <a:gd name="connsiteX0" fmla="*/ 171497 w 5580000"/>
              <a:gd name="connsiteY0" fmla="*/ 36000 h 612000"/>
              <a:gd name="connsiteX1" fmla="*/ 90000 w 5580000"/>
              <a:gd name="connsiteY1" fmla="*/ 117497 h 612000"/>
              <a:gd name="connsiteX2" fmla="*/ 90000 w 5580000"/>
              <a:gd name="connsiteY2" fmla="*/ 494503 h 612000"/>
              <a:gd name="connsiteX3" fmla="*/ 171497 w 5580000"/>
              <a:gd name="connsiteY3" fmla="*/ 576000 h 612000"/>
              <a:gd name="connsiteX4" fmla="*/ 5408503 w 5580000"/>
              <a:gd name="connsiteY4" fmla="*/ 576000 h 612000"/>
              <a:gd name="connsiteX5" fmla="*/ 5490000 w 5580000"/>
              <a:gd name="connsiteY5" fmla="*/ 494503 h 612000"/>
              <a:gd name="connsiteX6" fmla="*/ 5490000 w 5580000"/>
              <a:gd name="connsiteY6" fmla="*/ 117497 h 612000"/>
              <a:gd name="connsiteX7" fmla="*/ 5408503 w 5580000"/>
              <a:gd name="connsiteY7" fmla="*/ 36000 h 612000"/>
              <a:gd name="connsiteX8" fmla="*/ 92363 w 5580000"/>
              <a:gd name="connsiteY8" fmla="*/ 0 h 612000"/>
              <a:gd name="connsiteX9" fmla="*/ 5487637 w 5580000"/>
              <a:gd name="connsiteY9" fmla="*/ 0 h 612000"/>
              <a:gd name="connsiteX10" fmla="*/ 5580000 w 5580000"/>
              <a:gd name="connsiteY10" fmla="*/ 92363 h 612000"/>
              <a:gd name="connsiteX11" fmla="*/ 5580000 w 5580000"/>
              <a:gd name="connsiteY11" fmla="*/ 519637 h 612000"/>
              <a:gd name="connsiteX12" fmla="*/ 5487637 w 5580000"/>
              <a:gd name="connsiteY12" fmla="*/ 612000 h 612000"/>
              <a:gd name="connsiteX13" fmla="*/ 92363 w 5580000"/>
              <a:gd name="connsiteY13" fmla="*/ 612000 h 612000"/>
              <a:gd name="connsiteX14" fmla="*/ 0 w 5580000"/>
              <a:gd name="connsiteY14" fmla="*/ 519637 h 612000"/>
              <a:gd name="connsiteX15" fmla="*/ 0 w 5580000"/>
              <a:gd name="connsiteY15" fmla="*/ 92363 h 612000"/>
              <a:gd name="connsiteX16" fmla="*/ 92363 w 5580000"/>
              <a:gd name="connsiteY16" fmla="*/ 0 h 61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580000" h="612000">
                <a:moveTo>
                  <a:pt x="171497" y="36000"/>
                </a:moveTo>
                <a:cubicBezTo>
                  <a:pt x="126487" y="36000"/>
                  <a:pt x="90000" y="72487"/>
                  <a:pt x="90000" y="117497"/>
                </a:cubicBezTo>
                <a:lnTo>
                  <a:pt x="90000" y="494503"/>
                </a:lnTo>
                <a:cubicBezTo>
                  <a:pt x="90000" y="539513"/>
                  <a:pt x="126487" y="576000"/>
                  <a:pt x="171497" y="576000"/>
                </a:cubicBezTo>
                <a:lnTo>
                  <a:pt x="5408503" y="576000"/>
                </a:lnTo>
                <a:cubicBezTo>
                  <a:pt x="5453513" y="576000"/>
                  <a:pt x="5490000" y="539513"/>
                  <a:pt x="5490000" y="494503"/>
                </a:cubicBezTo>
                <a:lnTo>
                  <a:pt x="5490000" y="117497"/>
                </a:lnTo>
                <a:cubicBezTo>
                  <a:pt x="5490000" y="72487"/>
                  <a:pt x="5453513" y="36000"/>
                  <a:pt x="5408503" y="36000"/>
                </a:cubicBezTo>
                <a:close/>
                <a:moveTo>
                  <a:pt x="92363" y="0"/>
                </a:moveTo>
                <a:lnTo>
                  <a:pt x="5487637" y="0"/>
                </a:lnTo>
                <a:cubicBezTo>
                  <a:pt x="5538648" y="0"/>
                  <a:pt x="5580000" y="41352"/>
                  <a:pt x="5580000" y="92363"/>
                </a:cubicBezTo>
                <a:lnTo>
                  <a:pt x="5580000" y="519637"/>
                </a:lnTo>
                <a:cubicBezTo>
                  <a:pt x="5580000" y="570648"/>
                  <a:pt x="5538648" y="612000"/>
                  <a:pt x="5487637" y="612000"/>
                </a:cubicBezTo>
                <a:lnTo>
                  <a:pt x="92363" y="612000"/>
                </a:lnTo>
                <a:cubicBezTo>
                  <a:pt x="41352" y="612000"/>
                  <a:pt x="0" y="570648"/>
                  <a:pt x="0" y="519637"/>
                </a:cubicBezTo>
                <a:lnTo>
                  <a:pt x="0" y="92363"/>
                </a:lnTo>
                <a:cubicBezTo>
                  <a:pt x="0" y="41352"/>
                  <a:pt x="41352" y="0"/>
                  <a:pt x="92363" y="0"/>
                </a:cubicBezTo>
                <a:close/>
              </a:path>
            </a:pathLst>
          </a:custGeom>
          <a:solidFill>
            <a:srgbClr val="FFFFFF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1013">
              <a:solidFill>
                <a:prstClr val="white"/>
              </a:solidFill>
              <a:cs typeface="Arial"/>
            </a:endParaRPr>
          </a:p>
        </p:txBody>
      </p:sp>
      <p:sp>
        <p:nvSpPr>
          <p:cNvPr id="314" name="Rektangel: rundade hörn 313">
            <a:extLst>
              <a:ext uri="{FF2B5EF4-FFF2-40B4-BE49-F238E27FC236}">
                <a16:creationId xmlns:a16="http://schemas.microsoft.com/office/drawing/2014/main" id="{762A4E04-77BC-B184-051E-EE6AF843184D}"/>
              </a:ext>
            </a:extLst>
          </p:cNvPr>
          <p:cNvSpPr/>
          <p:nvPr/>
        </p:nvSpPr>
        <p:spPr>
          <a:xfrm>
            <a:off x="3342660" y="1517257"/>
            <a:ext cx="3037500" cy="95294"/>
          </a:xfrm>
          <a:prstGeom prst="roundRect">
            <a:avLst>
              <a:gd name="adj" fmla="val 15092"/>
            </a:avLst>
          </a:prstGeom>
          <a:noFill/>
          <a:ln w="19050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1013">
              <a:solidFill>
                <a:prstClr val="white"/>
              </a:solidFill>
              <a:cs typeface="Arial"/>
            </a:endParaRPr>
          </a:p>
        </p:txBody>
      </p:sp>
      <p:sp>
        <p:nvSpPr>
          <p:cNvPr id="384" name="Ellips 383">
            <a:extLst>
              <a:ext uri="{FF2B5EF4-FFF2-40B4-BE49-F238E27FC236}">
                <a16:creationId xmlns:a16="http://schemas.microsoft.com/office/drawing/2014/main" id="{A7E08879-2941-73BD-E628-26D4E942BDDC}"/>
              </a:ext>
            </a:extLst>
          </p:cNvPr>
          <p:cNvSpPr/>
          <p:nvPr/>
        </p:nvSpPr>
        <p:spPr>
          <a:xfrm>
            <a:off x="2701370" y="1517654"/>
            <a:ext cx="94500" cy="94500"/>
          </a:xfrm>
          <a:prstGeom prst="ellipse">
            <a:avLst/>
          </a:prstGeom>
          <a:solidFill>
            <a:srgbClr val="FE9D93"/>
          </a:solidFill>
          <a:ln w="1905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</a:pPr>
            <a:r>
              <a:rPr lang="sv-SE" sz="300">
                <a:cs typeface="Arial" panose="020B0604020202020204" pitchFamily="34" charset="0"/>
              </a:rPr>
              <a:t>-1</a:t>
            </a:r>
          </a:p>
        </p:txBody>
      </p:sp>
      <p:sp>
        <p:nvSpPr>
          <p:cNvPr id="385" name="Ellips 384">
            <a:extLst>
              <a:ext uri="{FF2B5EF4-FFF2-40B4-BE49-F238E27FC236}">
                <a16:creationId xmlns:a16="http://schemas.microsoft.com/office/drawing/2014/main" id="{C8082FC5-F5CD-F7A7-135F-F1142BF26433}"/>
              </a:ext>
            </a:extLst>
          </p:cNvPr>
          <p:cNvSpPr/>
          <p:nvPr/>
        </p:nvSpPr>
        <p:spPr>
          <a:xfrm>
            <a:off x="3092435" y="1517654"/>
            <a:ext cx="94500" cy="94500"/>
          </a:xfrm>
          <a:prstGeom prst="ellipse">
            <a:avLst/>
          </a:prstGeom>
          <a:solidFill>
            <a:srgbClr val="83E7AF"/>
          </a:solidFill>
          <a:ln w="1905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</a:pPr>
            <a:r>
              <a:rPr lang="sv-SE" sz="300">
                <a:cs typeface="Arial" panose="020B0604020202020204" pitchFamily="34" charset="0"/>
              </a:rPr>
              <a:t>+2</a:t>
            </a:r>
          </a:p>
        </p:txBody>
      </p:sp>
      <p:sp>
        <p:nvSpPr>
          <p:cNvPr id="423" name="Rektangel: rundade hörn 422">
            <a:extLst>
              <a:ext uri="{FF2B5EF4-FFF2-40B4-BE49-F238E27FC236}">
                <a16:creationId xmlns:a16="http://schemas.microsoft.com/office/drawing/2014/main" id="{51E80911-4DD2-B02D-57C9-F4E643D4658B}"/>
              </a:ext>
            </a:extLst>
          </p:cNvPr>
          <p:cNvSpPr/>
          <p:nvPr/>
        </p:nvSpPr>
        <p:spPr>
          <a:xfrm>
            <a:off x="2222666" y="1510904"/>
            <a:ext cx="303750" cy="108000"/>
          </a:xfrm>
          <a:prstGeom prst="roundRect">
            <a:avLst/>
          </a:prstGeom>
          <a:noFill/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</a:pPr>
            <a:r>
              <a:rPr lang="sv-SE" sz="450" b="1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62</a:t>
            </a:r>
          </a:p>
        </p:txBody>
      </p:sp>
      <p:sp>
        <p:nvSpPr>
          <p:cNvPr id="445" name="Rektangel: rundade hörn 444">
            <a:extLst>
              <a:ext uri="{FF2B5EF4-FFF2-40B4-BE49-F238E27FC236}">
                <a16:creationId xmlns:a16="http://schemas.microsoft.com/office/drawing/2014/main" id="{AF3E0979-E9B0-9ED7-0300-FD97C4B9FFCD}"/>
              </a:ext>
            </a:extLst>
          </p:cNvPr>
          <p:cNvSpPr/>
          <p:nvPr/>
        </p:nvSpPr>
        <p:spPr>
          <a:xfrm>
            <a:off x="1452216" y="1510904"/>
            <a:ext cx="819497" cy="108000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21500" tIns="20250" rIns="10125" bIns="20250" rtlCol="0" anchor="ctr">
            <a:normAutofit lnSpcReduction="10000"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75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Autonomi</a:t>
            </a:r>
          </a:p>
        </p:txBody>
      </p:sp>
      <p:graphicFrame>
        <p:nvGraphicFramePr>
          <p:cNvPr id="315" name="Chart 5">
            <a:extLst>
              <a:ext uri="{FF2B5EF4-FFF2-40B4-BE49-F238E27FC236}">
                <a16:creationId xmlns:a16="http://schemas.microsoft.com/office/drawing/2014/main" id="{63782690-A9B4-53F2-6A19-AC742C4E0420}"/>
              </a:ext>
            </a:extLst>
          </p:cNvPr>
          <p:cNvGraphicFramePr/>
          <p:nvPr/>
        </p:nvGraphicFramePr>
        <p:xfrm>
          <a:off x="3342660" y="2265288"/>
          <a:ext cx="3037500" cy="101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16" name="Frihandsfigur: Form 315">
            <a:extLst>
              <a:ext uri="{FF2B5EF4-FFF2-40B4-BE49-F238E27FC236}">
                <a16:creationId xmlns:a16="http://schemas.microsoft.com/office/drawing/2014/main" id="{0E4FB7E6-EDA0-F20B-E181-07A701A0D24B}"/>
              </a:ext>
            </a:extLst>
          </p:cNvPr>
          <p:cNvSpPr/>
          <p:nvPr/>
        </p:nvSpPr>
        <p:spPr>
          <a:xfrm>
            <a:off x="3292035" y="2262111"/>
            <a:ext cx="3138750" cy="108000"/>
          </a:xfrm>
          <a:custGeom>
            <a:avLst/>
            <a:gdLst>
              <a:gd name="connsiteX0" fmla="*/ 171497 w 5580000"/>
              <a:gd name="connsiteY0" fmla="*/ 36000 h 612000"/>
              <a:gd name="connsiteX1" fmla="*/ 90000 w 5580000"/>
              <a:gd name="connsiteY1" fmla="*/ 117497 h 612000"/>
              <a:gd name="connsiteX2" fmla="*/ 90000 w 5580000"/>
              <a:gd name="connsiteY2" fmla="*/ 494503 h 612000"/>
              <a:gd name="connsiteX3" fmla="*/ 171497 w 5580000"/>
              <a:gd name="connsiteY3" fmla="*/ 576000 h 612000"/>
              <a:gd name="connsiteX4" fmla="*/ 5408503 w 5580000"/>
              <a:gd name="connsiteY4" fmla="*/ 576000 h 612000"/>
              <a:gd name="connsiteX5" fmla="*/ 5490000 w 5580000"/>
              <a:gd name="connsiteY5" fmla="*/ 494503 h 612000"/>
              <a:gd name="connsiteX6" fmla="*/ 5490000 w 5580000"/>
              <a:gd name="connsiteY6" fmla="*/ 117497 h 612000"/>
              <a:gd name="connsiteX7" fmla="*/ 5408503 w 5580000"/>
              <a:gd name="connsiteY7" fmla="*/ 36000 h 612000"/>
              <a:gd name="connsiteX8" fmla="*/ 92363 w 5580000"/>
              <a:gd name="connsiteY8" fmla="*/ 0 h 612000"/>
              <a:gd name="connsiteX9" fmla="*/ 5487637 w 5580000"/>
              <a:gd name="connsiteY9" fmla="*/ 0 h 612000"/>
              <a:gd name="connsiteX10" fmla="*/ 5580000 w 5580000"/>
              <a:gd name="connsiteY10" fmla="*/ 92363 h 612000"/>
              <a:gd name="connsiteX11" fmla="*/ 5580000 w 5580000"/>
              <a:gd name="connsiteY11" fmla="*/ 519637 h 612000"/>
              <a:gd name="connsiteX12" fmla="*/ 5487637 w 5580000"/>
              <a:gd name="connsiteY12" fmla="*/ 612000 h 612000"/>
              <a:gd name="connsiteX13" fmla="*/ 92363 w 5580000"/>
              <a:gd name="connsiteY13" fmla="*/ 612000 h 612000"/>
              <a:gd name="connsiteX14" fmla="*/ 0 w 5580000"/>
              <a:gd name="connsiteY14" fmla="*/ 519637 h 612000"/>
              <a:gd name="connsiteX15" fmla="*/ 0 w 5580000"/>
              <a:gd name="connsiteY15" fmla="*/ 92363 h 612000"/>
              <a:gd name="connsiteX16" fmla="*/ 92363 w 5580000"/>
              <a:gd name="connsiteY16" fmla="*/ 0 h 61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580000" h="612000">
                <a:moveTo>
                  <a:pt x="171497" y="36000"/>
                </a:moveTo>
                <a:cubicBezTo>
                  <a:pt x="126487" y="36000"/>
                  <a:pt x="90000" y="72487"/>
                  <a:pt x="90000" y="117497"/>
                </a:cubicBezTo>
                <a:lnTo>
                  <a:pt x="90000" y="494503"/>
                </a:lnTo>
                <a:cubicBezTo>
                  <a:pt x="90000" y="539513"/>
                  <a:pt x="126487" y="576000"/>
                  <a:pt x="171497" y="576000"/>
                </a:cubicBezTo>
                <a:lnTo>
                  <a:pt x="5408503" y="576000"/>
                </a:lnTo>
                <a:cubicBezTo>
                  <a:pt x="5453513" y="576000"/>
                  <a:pt x="5490000" y="539513"/>
                  <a:pt x="5490000" y="494503"/>
                </a:cubicBezTo>
                <a:lnTo>
                  <a:pt x="5490000" y="117497"/>
                </a:lnTo>
                <a:cubicBezTo>
                  <a:pt x="5490000" y="72487"/>
                  <a:pt x="5453513" y="36000"/>
                  <a:pt x="5408503" y="36000"/>
                </a:cubicBezTo>
                <a:close/>
                <a:moveTo>
                  <a:pt x="92363" y="0"/>
                </a:moveTo>
                <a:lnTo>
                  <a:pt x="5487637" y="0"/>
                </a:lnTo>
                <a:cubicBezTo>
                  <a:pt x="5538648" y="0"/>
                  <a:pt x="5580000" y="41352"/>
                  <a:pt x="5580000" y="92363"/>
                </a:cubicBezTo>
                <a:lnTo>
                  <a:pt x="5580000" y="519637"/>
                </a:lnTo>
                <a:cubicBezTo>
                  <a:pt x="5580000" y="570648"/>
                  <a:pt x="5538648" y="612000"/>
                  <a:pt x="5487637" y="612000"/>
                </a:cubicBezTo>
                <a:lnTo>
                  <a:pt x="92363" y="612000"/>
                </a:lnTo>
                <a:cubicBezTo>
                  <a:pt x="41352" y="612000"/>
                  <a:pt x="0" y="570648"/>
                  <a:pt x="0" y="519637"/>
                </a:cubicBezTo>
                <a:lnTo>
                  <a:pt x="0" y="92363"/>
                </a:lnTo>
                <a:cubicBezTo>
                  <a:pt x="0" y="41352"/>
                  <a:pt x="41352" y="0"/>
                  <a:pt x="92363" y="0"/>
                </a:cubicBezTo>
                <a:close/>
              </a:path>
            </a:pathLst>
          </a:custGeom>
          <a:solidFill>
            <a:srgbClr val="FFFFFF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1013">
              <a:solidFill>
                <a:prstClr val="white"/>
              </a:solidFill>
              <a:cs typeface="Arial"/>
            </a:endParaRPr>
          </a:p>
        </p:txBody>
      </p:sp>
      <p:sp>
        <p:nvSpPr>
          <p:cNvPr id="318" name="Rektangel: rundade hörn 317">
            <a:extLst>
              <a:ext uri="{FF2B5EF4-FFF2-40B4-BE49-F238E27FC236}">
                <a16:creationId xmlns:a16="http://schemas.microsoft.com/office/drawing/2014/main" id="{B4D51529-7253-13C3-D954-B05BF8BA441A}"/>
              </a:ext>
            </a:extLst>
          </p:cNvPr>
          <p:cNvSpPr/>
          <p:nvPr/>
        </p:nvSpPr>
        <p:spPr>
          <a:xfrm>
            <a:off x="3342660" y="2268465"/>
            <a:ext cx="3037500" cy="95294"/>
          </a:xfrm>
          <a:prstGeom prst="roundRect">
            <a:avLst>
              <a:gd name="adj" fmla="val 15092"/>
            </a:avLst>
          </a:prstGeom>
          <a:noFill/>
          <a:ln w="19050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1013">
              <a:solidFill>
                <a:prstClr val="white"/>
              </a:solidFill>
              <a:cs typeface="Arial"/>
            </a:endParaRPr>
          </a:p>
        </p:txBody>
      </p:sp>
      <p:sp>
        <p:nvSpPr>
          <p:cNvPr id="386" name="Ellips 385">
            <a:extLst>
              <a:ext uri="{FF2B5EF4-FFF2-40B4-BE49-F238E27FC236}">
                <a16:creationId xmlns:a16="http://schemas.microsoft.com/office/drawing/2014/main" id="{8C2A6E9E-DBA4-2A94-3A04-21FB2AE22E1C}"/>
              </a:ext>
            </a:extLst>
          </p:cNvPr>
          <p:cNvSpPr/>
          <p:nvPr/>
        </p:nvSpPr>
        <p:spPr>
          <a:xfrm>
            <a:off x="2701370" y="2268861"/>
            <a:ext cx="94500" cy="94500"/>
          </a:xfrm>
          <a:prstGeom prst="ellipse">
            <a:avLst/>
          </a:prstGeom>
          <a:solidFill>
            <a:srgbClr val="83E7AF"/>
          </a:solidFill>
          <a:ln w="1905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00">
                <a:cs typeface="Arial" panose="020B0604020202020204" pitchFamily="34" charset="0"/>
              </a:rPr>
              <a:t>+3</a:t>
            </a:r>
          </a:p>
        </p:txBody>
      </p:sp>
      <p:sp>
        <p:nvSpPr>
          <p:cNvPr id="387" name="Ellips 386">
            <a:extLst>
              <a:ext uri="{FF2B5EF4-FFF2-40B4-BE49-F238E27FC236}">
                <a16:creationId xmlns:a16="http://schemas.microsoft.com/office/drawing/2014/main" id="{6B933EC1-7E1D-314D-216E-27AFAC25E874}"/>
              </a:ext>
            </a:extLst>
          </p:cNvPr>
          <p:cNvSpPr/>
          <p:nvPr/>
        </p:nvSpPr>
        <p:spPr>
          <a:xfrm>
            <a:off x="3092435" y="2268861"/>
            <a:ext cx="94500" cy="94500"/>
          </a:xfrm>
          <a:prstGeom prst="ellipse">
            <a:avLst/>
          </a:prstGeom>
          <a:solidFill>
            <a:srgbClr val="83E7AF"/>
          </a:solidFill>
          <a:ln w="1905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00">
                <a:cs typeface="Arial" panose="020B0604020202020204" pitchFamily="34" charset="0"/>
              </a:rPr>
              <a:t>+9</a:t>
            </a:r>
          </a:p>
        </p:txBody>
      </p:sp>
      <p:sp>
        <p:nvSpPr>
          <p:cNvPr id="424" name="Rektangel: rundade hörn 423">
            <a:extLst>
              <a:ext uri="{FF2B5EF4-FFF2-40B4-BE49-F238E27FC236}">
                <a16:creationId xmlns:a16="http://schemas.microsoft.com/office/drawing/2014/main" id="{39266525-7A7E-CE05-2480-6A1821EF3D52}"/>
              </a:ext>
            </a:extLst>
          </p:cNvPr>
          <p:cNvSpPr/>
          <p:nvPr/>
        </p:nvSpPr>
        <p:spPr>
          <a:xfrm>
            <a:off x="2222666" y="2262111"/>
            <a:ext cx="303750" cy="108000"/>
          </a:xfrm>
          <a:prstGeom prst="roundRect">
            <a:avLst/>
          </a:prstGeom>
          <a:noFill/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450" b="1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73</a:t>
            </a:r>
          </a:p>
        </p:txBody>
      </p:sp>
      <p:sp>
        <p:nvSpPr>
          <p:cNvPr id="446" name="Rektangel: rundade hörn 445">
            <a:extLst>
              <a:ext uri="{FF2B5EF4-FFF2-40B4-BE49-F238E27FC236}">
                <a16:creationId xmlns:a16="http://schemas.microsoft.com/office/drawing/2014/main" id="{7D3EB58A-EB9C-9C3F-C4BE-25DF6EAD825E}"/>
              </a:ext>
            </a:extLst>
          </p:cNvPr>
          <p:cNvSpPr/>
          <p:nvPr/>
        </p:nvSpPr>
        <p:spPr>
          <a:xfrm>
            <a:off x="1452216" y="2262111"/>
            <a:ext cx="819497" cy="108000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21500" tIns="20250" rIns="10125" bIns="20250" rtlCol="0" anchor="ctr">
            <a:normAutofit lnSpcReduction="10000"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75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Uppskattning</a:t>
            </a:r>
          </a:p>
        </p:txBody>
      </p:sp>
      <p:graphicFrame>
        <p:nvGraphicFramePr>
          <p:cNvPr id="322" name="Chart 5">
            <a:extLst>
              <a:ext uri="{FF2B5EF4-FFF2-40B4-BE49-F238E27FC236}">
                <a16:creationId xmlns:a16="http://schemas.microsoft.com/office/drawing/2014/main" id="{666A2952-20AD-D241-42F2-0FDD90C848BF}"/>
              </a:ext>
            </a:extLst>
          </p:cNvPr>
          <p:cNvGraphicFramePr/>
          <p:nvPr/>
        </p:nvGraphicFramePr>
        <p:xfrm>
          <a:off x="3342660" y="2515690"/>
          <a:ext cx="3037500" cy="101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23" name="Frihandsfigur: Form 322">
            <a:extLst>
              <a:ext uri="{FF2B5EF4-FFF2-40B4-BE49-F238E27FC236}">
                <a16:creationId xmlns:a16="http://schemas.microsoft.com/office/drawing/2014/main" id="{6DBDCD21-25CB-F362-F8B3-D75F91C09F13}"/>
              </a:ext>
            </a:extLst>
          </p:cNvPr>
          <p:cNvSpPr/>
          <p:nvPr/>
        </p:nvSpPr>
        <p:spPr>
          <a:xfrm>
            <a:off x="3292035" y="2512514"/>
            <a:ext cx="3138750" cy="108000"/>
          </a:xfrm>
          <a:custGeom>
            <a:avLst/>
            <a:gdLst>
              <a:gd name="connsiteX0" fmla="*/ 171497 w 5580000"/>
              <a:gd name="connsiteY0" fmla="*/ 36000 h 612000"/>
              <a:gd name="connsiteX1" fmla="*/ 90000 w 5580000"/>
              <a:gd name="connsiteY1" fmla="*/ 117497 h 612000"/>
              <a:gd name="connsiteX2" fmla="*/ 90000 w 5580000"/>
              <a:gd name="connsiteY2" fmla="*/ 494503 h 612000"/>
              <a:gd name="connsiteX3" fmla="*/ 171497 w 5580000"/>
              <a:gd name="connsiteY3" fmla="*/ 576000 h 612000"/>
              <a:gd name="connsiteX4" fmla="*/ 5408503 w 5580000"/>
              <a:gd name="connsiteY4" fmla="*/ 576000 h 612000"/>
              <a:gd name="connsiteX5" fmla="*/ 5490000 w 5580000"/>
              <a:gd name="connsiteY5" fmla="*/ 494503 h 612000"/>
              <a:gd name="connsiteX6" fmla="*/ 5490000 w 5580000"/>
              <a:gd name="connsiteY6" fmla="*/ 117497 h 612000"/>
              <a:gd name="connsiteX7" fmla="*/ 5408503 w 5580000"/>
              <a:gd name="connsiteY7" fmla="*/ 36000 h 612000"/>
              <a:gd name="connsiteX8" fmla="*/ 92363 w 5580000"/>
              <a:gd name="connsiteY8" fmla="*/ 0 h 612000"/>
              <a:gd name="connsiteX9" fmla="*/ 5487637 w 5580000"/>
              <a:gd name="connsiteY9" fmla="*/ 0 h 612000"/>
              <a:gd name="connsiteX10" fmla="*/ 5580000 w 5580000"/>
              <a:gd name="connsiteY10" fmla="*/ 92363 h 612000"/>
              <a:gd name="connsiteX11" fmla="*/ 5580000 w 5580000"/>
              <a:gd name="connsiteY11" fmla="*/ 519637 h 612000"/>
              <a:gd name="connsiteX12" fmla="*/ 5487637 w 5580000"/>
              <a:gd name="connsiteY12" fmla="*/ 612000 h 612000"/>
              <a:gd name="connsiteX13" fmla="*/ 92363 w 5580000"/>
              <a:gd name="connsiteY13" fmla="*/ 612000 h 612000"/>
              <a:gd name="connsiteX14" fmla="*/ 0 w 5580000"/>
              <a:gd name="connsiteY14" fmla="*/ 519637 h 612000"/>
              <a:gd name="connsiteX15" fmla="*/ 0 w 5580000"/>
              <a:gd name="connsiteY15" fmla="*/ 92363 h 612000"/>
              <a:gd name="connsiteX16" fmla="*/ 92363 w 5580000"/>
              <a:gd name="connsiteY16" fmla="*/ 0 h 61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580000" h="612000">
                <a:moveTo>
                  <a:pt x="171497" y="36000"/>
                </a:moveTo>
                <a:cubicBezTo>
                  <a:pt x="126487" y="36000"/>
                  <a:pt x="90000" y="72487"/>
                  <a:pt x="90000" y="117497"/>
                </a:cubicBezTo>
                <a:lnTo>
                  <a:pt x="90000" y="494503"/>
                </a:lnTo>
                <a:cubicBezTo>
                  <a:pt x="90000" y="539513"/>
                  <a:pt x="126487" y="576000"/>
                  <a:pt x="171497" y="576000"/>
                </a:cubicBezTo>
                <a:lnTo>
                  <a:pt x="5408503" y="576000"/>
                </a:lnTo>
                <a:cubicBezTo>
                  <a:pt x="5453513" y="576000"/>
                  <a:pt x="5490000" y="539513"/>
                  <a:pt x="5490000" y="494503"/>
                </a:cubicBezTo>
                <a:lnTo>
                  <a:pt x="5490000" y="117497"/>
                </a:lnTo>
                <a:cubicBezTo>
                  <a:pt x="5490000" y="72487"/>
                  <a:pt x="5453513" y="36000"/>
                  <a:pt x="5408503" y="36000"/>
                </a:cubicBezTo>
                <a:close/>
                <a:moveTo>
                  <a:pt x="92363" y="0"/>
                </a:moveTo>
                <a:lnTo>
                  <a:pt x="5487637" y="0"/>
                </a:lnTo>
                <a:cubicBezTo>
                  <a:pt x="5538648" y="0"/>
                  <a:pt x="5580000" y="41352"/>
                  <a:pt x="5580000" y="92363"/>
                </a:cubicBezTo>
                <a:lnTo>
                  <a:pt x="5580000" y="519637"/>
                </a:lnTo>
                <a:cubicBezTo>
                  <a:pt x="5580000" y="570648"/>
                  <a:pt x="5538648" y="612000"/>
                  <a:pt x="5487637" y="612000"/>
                </a:cubicBezTo>
                <a:lnTo>
                  <a:pt x="92363" y="612000"/>
                </a:lnTo>
                <a:cubicBezTo>
                  <a:pt x="41352" y="612000"/>
                  <a:pt x="0" y="570648"/>
                  <a:pt x="0" y="519637"/>
                </a:cubicBezTo>
                <a:lnTo>
                  <a:pt x="0" y="92363"/>
                </a:lnTo>
                <a:cubicBezTo>
                  <a:pt x="0" y="41352"/>
                  <a:pt x="41352" y="0"/>
                  <a:pt x="92363" y="0"/>
                </a:cubicBezTo>
                <a:close/>
              </a:path>
            </a:pathLst>
          </a:custGeom>
          <a:solidFill>
            <a:srgbClr val="FFFFFF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1013">
              <a:solidFill>
                <a:prstClr val="white"/>
              </a:solidFill>
              <a:cs typeface="Arial"/>
            </a:endParaRPr>
          </a:p>
        </p:txBody>
      </p:sp>
      <p:sp>
        <p:nvSpPr>
          <p:cNvPr id="324" name="Rektangel: rundade hörn 323">
            <a:extLst>
              <a:ext uri="{FF2B5EF4-FFF2-40B4-BE49-F238E27FC236}">
                <a16:creationId xmlns:a16="http://schemas.microsoft.com/office/drawing/2014/main" id="{4AF28C8D-1005-1890-7DB2-2E235C493D80}"/>
              </a:ext>
            </a:extLst>
          </p:cNvPr>
          <p:cNvSpPr/>
          <p:nvPr/>
        </p:nvSpPr>
        <p:spPr>
          <a:xfrm>
            <a:off x="3342660" y="2518867"/>
            <a:ext cx="3037500" cy="95294"/>
          </a:xfrm>
          <a:prstGeom prst="roundRect">
            <a:avLst>
              <a:gd name="adj" fmla="val 15092"/>
            </a:avLst>
          </a:prstGeom>
          <a:noFill/>
          <a:ln w="19050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1013">
              <a:solidFill>
                <a:prstClr val="white"/>
              </a:solidFill>
              <a:cs typeface="Arial"/>
            </a:endParaRPr>
          </a:p>
        </p:txBody>
      </p:sp>
      <p:sp>
        <p:nvSpPr>
          <p:cNvPr id="388" name="Ellips 387">
            <a:extLst>
              <a:ext uri="{FF2B5EF4-FFF2-40B4-BE49-F238E27FC236}">
                <a16:creationId xmlns:a16="http://schemas.microsoft.com/office/drawing/2014/main" id="{B8BC5DAD-3626-9309-5BEB-29F48B29B7F6}"/>
              </a:ext>
            </a:extLst>
          </p:cNvPr>
          <p:cNvSpPr/>
          <p:nvPr/>
        </p:nvSpPr>
        <p:spPr>
          <a:xfrm>
            <a:off x="2701370" y="2519264"/>
            <a:ext cx="94500" cy="94500"/>
          </a:xfrm>
          <a:prstGeom prst="ellipse">
            <a:avLst/>
          </a:prstGeom>
          <a:solidFill>
            <a:srgbClr val="FE9D93"/>
          </a:solidFill>
          <a:ln w="1905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00">
                <a:cs typeface="Arial" panose="020B0604020202020204" pitchFamily="34" charset="0"/>
              </a:rPr>
              <a:t>-2</a:t>
            </a:r>
          </a:p>
        </p:txBody>
      </p:sp>
      <p:sp>
        <p:nvSpPr>
          <p:cNvPr id="389" name="Ellips 388">
            <a:extLst>
              <a:ext uri="{FF2B5EF4-FFF2-40B4-BE49-F238E27FC236}">
                <a16:creationId xmlns:a16="http://schemas.microsoft.com/office/drawing/2014/main" id="{E3C7DC68-4F6A-7F4E-4848-0AB69A6039F7}"/>
              </a:ext>
            </a:extLst>
          </p:cNvPr>
          <p:cNvSpPr/>
          <p:nvPr/>
        </p:nvSpPr>
        <p:spPr>
          <a:xfrm>
            <a:off x="3092435" y="2519264"/>
            <a:ext cx="94500" cy="94500"/>
          </a:xfrm>
          <a:prstGeom prst="ellipse">
            <a:avLst/>
          </a:prstGeom>
          <a:solidFill>
            <a:srgbClr val="FE9D93"/>
          </a:solidFill>
          <a:ln w="1905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00">
                <a:cs typeface="Arial" panose="020B0604020202020204" pitchFamily="34" charset="0"/>
              </a:rPr>
              <a:t>-1</a:t>
            </a:r>
          </a:p>
        </p:txBody>
      </p:sp>
      <p:sp>
        <p:nvSpPr>
          <p:cNvPr id="425" name="Rektangel: rundade hörn 424">
            <a:extLst>
              <a:ext uri="{FF2B5EF4-FFF2-40B4-BE49-F238E27FC236}">
                <a16:creationId xmlns:a16="http://schemas.microsoft.com/office/drawing/2014/main" id="{D6B6C19F-F3ED-1DA4-8727-E7BFC1D8D0BD}"/>
              </a:ext>
            </a:extLst>
          </p:cNvPr>
          <p:cNvSpPr/>
          <p:nvPr/>
        </p:nvSpPr>
        <p:spPr>
          <a:xfrm>
            <a:off x="2222666" y="2512514"/>
            <a:ext cx="303750" cy="108000"/>
          </a:xfrm>
          <a:prstGeom prst="roundRect">
            <a:avLst/>
          </a:prstGeom>
          <a:noFill/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450" b="1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55</a:t>
            </a:r>
          </a:p>
        </p:txBody>
      </p:sp>
      <p:sp>
        <p:nvSpPr>
          <p:cNvPr id="447" name="Rektangel: rundade hörn 446">
            <a:extLst>
              <a:ext uri="{FF2B5EF4-FFF2-40B4-BE49-F238E27FC236}">
                <a16:creationId xmlns:a16="http://schemas.microsoft.com/office/drawing/2014/main" id="{4BC37A86-A2CB-A633-676B-3BEFD858C1F3}"/>
              </a:ext>
            </a:extLst>
          </p:cNvPr>
          <p:cNvSpPr/>
          <p:nvPr/>
        </p:nvSpPr>
        <p:spPr>
          <a:xfrm>
            <a:off x="1452216" y="2512514"/>
            <a:ext cx="819497" cy="108000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21500" tIns="20250" rIns="10125" bIns="20250" rtlCol="0" anchor="ctr">
            <a:normAutofit lnSpcReduction="10000"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75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Utveckling</a:t>
            </a:r>
          </a:p>
        </p:txBody>
      </p:sp>
      <p:graphicFrame>
        <p:nvGraphicFramePr>
          <p:cNvPr id="325" name="Chart 5">
            <a:extLst>
              <a:ext uri="{FF2B5EF4-FFF2-40B4-BE49-F238E27FC236}">
                <a16:creationId xmlns:a16="http://schemas.microsoft.com/office/drawing/2014/main" id="{23CD2DE0-A79D-35EA-0A77-34CE232B7039}"/>
              </a:ext>
            </a:extLst>
          </p:cNvPr>
          <p:cNvGraphicFramePr/>
          <p:nvPr/>
        </p:nvGraphicFramePr>
        <p:xfrm>
          <a:off x="3342660" y="2390489"/>
          <a:ext cx="3037500" cy="101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326" name="Frihandsfigur: Form 325">
            <a:extLst>
              <a:ext uri="{FF2B5EF4-FFF2-40B4-BE49-F238E27FC236}">
                <a16:creationId xmlns:a16="http://schemas.microsoft.com/office/drawing/2014/main" id="{3BFDD17D-1ACE-6D91-C9A5-55A3D3909641}"/>
              </a:ext>
            </a:extLst>
          </p:cNvPr>
          <p:cNvSpPr/>
          <p:nvPr/>
        </p:nvSpPr>
        <p:spPr>
          <a:xfrm>
            <a:off x="3292035" y="2387312"/>
            <a:ext cx="3138750" cy="108000"/>
          </a:xfrm>
          <a:custGeom>
            <a:avLst/>
            <a:gdLst>
              <a:gd name="connsiteX0" fmla="*/ 171497 w 5580000"/>
              <a:gd name="connsiteY0" fmla="*/ 36000 h 612000"/>
              <a:gd name="connsiteX1" fmla="*/ 90000 w 5580000"/>
              <a:gd name="connsiteY1" fmla="*/ 117497 h 612000"/>
              <a:gd name="connsiteX2" fmla="*/ 90000 w 5580000"/>
              <a:gd name="connsiteY2" fmla="*/ 494503 h 612000"/>
              <a:gd name="connsiteX3" fmla="*/ 171497 w 5580000"/>
              <a:gd name="connsiteY3" fmla="*/ 576000 h 612000"/>
              <a:gd name="connsiteX4" fmla="*/ 5408503 w 5580000"/>
              <a:gd name="connsiteY4" fmla="*/ 576000 h 612000"/>
              <a:gd name="connsiteX5" fmla="*/ 5490000 w 5580000"/>
              <a:gd name="connsiteY5" fmla="*/ 494503 h 612000"/>
              <a:gd name="connsiteX6" fmla="*/ 5490000 w 5580000"/>
              <a:gd name="connsiteY6" fmla="*/ 117497 h 612000"/>
              <a:gd name="connsiteX7" fmla="*/ 5408503 w 5580000"/>
              <a:gd name="connsiteY7" fmla="*/ 36000 h 612000"/>
              <a:gd name="connsiteX8" fmla="*/ 92363 w 5580000"/>
              <a:gd name="connsiteY8" fmla="*/ 0 h 612000"/>
              <a:gd name="connsiteX9" fmla="*/ 5487637 w 5580000"/>
              <a:gd name="connsiteY9" fmla="*/ 0 h 612000"/>
              <a:gd name="connsiteX10" fmla="*/ 5580000 w 5580000"/>
              <a:gd name="connsiteY10" fmla="*/ 92363 h 612000"/>
              <a:gd name="connsiteX11" fmla="*/ 5580000 w 5580000"/>
              <a:gd name="connsiteY11" fmla="*/ 519637 h 612000"/>
              <a:gd name="connsiteX12" fmla="*/ 5487637 w 5580000"/>
              <a:gd name="connsiteY12" fmla="*/ 612000 h 612000"/>
              <a:gd name="connsiteX13" fmla="*/ 92363 w 5580000"/>
              <a:gd name="connsiteY13" fmla="*/ 612000 h 612000"/>
              <a:gd name="connsiteX14" fmla="*/ 0 w 5580000"/>
              <a:gd name="connsiteY14" fmla="*/ 519637 h 612000"/>
              <a:gd name="connsiteX15" fmla="*/ 0 w 5580000"/>
              <a:gd name="connsiteY15" fmla="*/ 92363 h 612000"/>
              <a:gd name="connsiteX16" fmla="*/ 92363 w 5580000"/>
              <a:gd name="connsiteY16" fmla="*/ 0 h 61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580000" h="612000">
                <a:moveTo>
                  <a:pt x="171497" y="36000"/>
                </a:moveTo>
                <a:cubicBezTo>
                  <a:pt x="126487" y="36000"/>
                  <a:pt x="90000" y="72487"/>
                  <a:pt x="90000" y="117497"/>
                </a:cubicBezTo>
                <a:lnTo>
                  <a:pt x="90000" y="494503"/>
                </a:lnTo>
                <a:cubicBezTo>
                  <a:pt x="90000" y="539513"/>
                  <a:pt x="126487" y="576000"/>
                  <a:pt x="171497" y="576000"/>
                </a:cubicBezTo>
                <a:lnTo>
                  <a:pt x="5408503" y="576000"/>
                </a:lnTo>
                <a:cubicBezTo>
                  <a:pt x="5453513" y="576000"/>
                  <a:pt x="5490000" y="539513"/>
                  <a:pt x="5490000" y="494503"/>
                </a:cubicBezTo>
                <a:lnTo>
                  <a:pt x="5490000" y="117497"/>
                </a:lnTo>
                <a:cubicBezTo>
                  <a:pt x="5490000" y="72487"/>
                  <a:pt x="5453513" y="36000"/>
                  <a:pt x="5408503" y="36000"/>
                </a:cubicBezTo>
                <a:close/>
                <a:moveTo>
                  <a:pt x="92363" y="0"/>
                </a:moveTo>
                <a:lnTo>
                  <a:pt x="5487637" y="0"/>
                </a:lnTo>
                <a:cubicBezTo>
                  <a:pt x="5538648" y="0"/>
                  <a:pt x="5580000" y="41352"/>
                  <a:pt x="5580000" y="92363"/>
                </a:cubicBezTo>
                <a:lnTo>
                  <a:pt x="5580000" y="519637"/>
                </a:lnTo>
                <a:cubicBezTo>
                  <a:pt x="5580000" y="570648"/>
                  <a:pt x="5538648" y="612000"/>
                  <a:pt x="5487637" y="612000"/>
                </a:cubicBezTo>
                <a:lnTo>
                  <a:pt x="92363" y="612000"/>
                </a:lnTo>
                <a:cubicBezTo>
                  <a:pt x="41352" y="612000"/>
                  <a:pt x="0" y="570648"/>
                  <a:pt x="0" y="519637"/>
                </a:cubicBezTo>
                <a:lnTo>
                  <a:pt x="0" y="92363"/>
                </a:lnTo>
                <a:cubicBezTo>
                  <a:pt x="0" y="41352"/>
                  <a:pt x="41352" y="0"/>
                  <a:pt x="92363" y="0"/>
                </a:cubicBezTo>
                <a:close/>
              </a:path>
            </a:pathLst>
          </a:custGeom>
          <a:solidFill>
            <a:srgbClr val="FFFFFF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1013">
              <a:solidFill>
                <a:prstClr val="white"/>
              </a:solidFill>
              <a:cs typeface="Arial"/>
            </a:endParaRPr>
          </a:p>
        </p:txBody>
      </p:sp>
      <p:sp>
        <p:nvSpPr>
          <p:cNvPr id="327" name="Rektangel: rundade hörn 326">
            <a:extLst>
              <a:ext uri="{FF2B5EF4-FFF2-40B4-BE49-F238E27FC236}">
                <a16:creationId xmlns:a16="http://schemas.microsoft.com/office/drawing/2014/main" id="{29071020-7565-E925-052C-BF4888429EF8}"/>
              </a:ext>
            </a:extLst>
          </p:cNvPr>
          <p:cNvSpPr/>
          <p:nvPr/>
        </p:nvSpPr>
        <p:spPr>
          <a:xfrm>
            <a:off x="3342660" y="2393666"/>
            <a:ext cx="3037500" cy="95294"/>
          </a:xfrm>
          <a:prstGeom prst="roundRect">
            <a:avLst>
              <a:gd name="adj" fmla="val 15092"/>
            </a:avLst>
          </a:prstGeom>
          <a:noFill/>
          <a:ln w="19050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1013">
              <a:solidFill>
                <a:prstClr val="white"/>
              </a:solidFill>
              <a:cs typeface="Arial"/>
            </a:endParaRPr>
          </a:p>
        </p:txBody>
      </p:sp>
      <p:sp>
        <p:nvSpPr>
          <p:cNvPr id="390" name="Ellips 389">
            <a:extLst>
              <a:ext uri="{FF2B5EF4-FFF2-40B4-BE49-F238E27FC236}">
                <a16:creationId xmlns:a16="http://schemas.microsoft.com/office/drawing/2014/main" id="{9EE47DA1-BA15-1B33-D0AE-8DE3E25A0467}"/>
              </a:ext>
            </a:extLst>
          </p:cNvPr>
          <p:cNvSpPr/>
          <p:nvPr/>
        </p:nvSpPr>
        <p:spPr>
          <a:xfrm>
            <a:off x="2701370" y="2394062"/>
            <a:ext cx="94500" cy="94500"/>
          </a:xfrm>
          <a:prstGeom prst="ellipse">
            <a:avLst/>
          </a:prstGeom>
          <a:solidFill>
            <a:srgbClr val="F2F2F2"/>
          </a:solidFill>
          <a:ln w="1905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00">
                <a:solidFill>
                  <a:srgbClr val="4E5758"/>
                </a:solidFill>
                <a:cs typeface="Arial" panose="020B0604020202020204" pitchFamily="34" charset="0"/>
              </a:rPr>
              <a:t>±0</a:t>
            </a:r>
          </a:p>
        </p:txBody>
      </p:sp>
      <p:sp>
        <p:nvSpPr>
          <p:cNvPr id="391" name="Ellips 390">
            <a:extLst>
              <a:ext uri="{FF2B5EF4-FFF2-40B4-BE49-F238E27FC236}">
                <a16:creationId xmlns:a16="http://schemas.microsoft.com/office/drawing/2014/main" id="{939D1094-9D43-0EC8-DD57-E81679CB248A}"/>
              </a:ext>
            </a:extLst>
          </p:cNvPr>
          <p:cNvSpPr/>
          <p:nvPr/>
        </p:nvSpPr>
        <p:spPr>
          <a:xfrm>
            <a:off x="3092435" y="2394062"/>
            <a:ext cx="94500" cy="94500"/>
          </a:xfrm>
          <a:prstGeom prst="ellipse">
            <a:avLst/>
          </a:prstGeom>
          <a:solidFill>
            <a:srgbClr val="83E7AF"/>
          </a:solidFill>
          <a:ln w="1905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00">
                <a:cs typeface="Arial" panose="020B0604020202020204" pitchFamily="34" charset="0"/>
              </a:rPr>
              <a:t>+8</a:t>
            </a:r>
          </a:p>
        </p:txBody>
      </p:sp>
      <p:sp>
        <p:nvSpPr>
          <p:cNvPr id="426" name="Rektangel: rundade hörn 425">
            <a:extLst>
              <a:ext uri="{FF2B5EF4-FFF2-40B4-BE49-F238E27FC236}">
                <a16:creationId xmlns:a16="http://schemas.microsoft.com/office/drawing/2014/main" id="{71D720B4-D09F-2562-43E4-61B124E6E3BD}"/>
              </a:ext>
            </a:extLst>
          </p:cNvPr>
          <p:cNvSpPr/>
          <p:nvPr/>
        </p:nvSpPr>
        <p:spPr>
          <a:xfrm>
            <a:off x="2222666" y="2387312"/>
            <a:ext cx="303750" cy="108000"/>
          </a:xfrm>
          <a:prstGeom prst="roundRect">
            <a:avLst/>
          </a:prstGeom>
          <a:noFill/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450" b="1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75</a:t>
            </a:r>
          </a:p>
        </p:txBody>
      </p:sp>
      <p:sp>
        <p:nvSpPr>
          <p:cNvPr id="448" name="Rektangel: rundade hörn 447">
            <a:extLst>
              <a:ext uri="{FF2B5EF4-FFF2-40B4-BE49-F238E27FC236}">
                <a16:creationId xmlns:a16="http://schemas.microsoft.com/office/drawing/2014/main" id="{9E44B984-ED4A-63AE-722E-02A18718F150}"/>
              </a:ext>
            </a:extLst>
          </p:cNvPr>
          <p:cNvSpPr/>
          <p:nvPr/>
        </p:nvSpPr>
        <p:spPr>
          <a:xfrm>
            <a:off x="1452216" y="2387312"/>
            <a:ext cx="819497" cy="108000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21500" tIns="20250" rIns="10125" bIns="20250" rtlCol="0" anchor="ctr">
            <a:normAutofit lnSpcReduction="10000"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75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Balans - Arbete / fritid</a:t>
            </a:r>
          </a:p>
        </p:txBody>
      </p:sp>
      <p:graphicFrame>
        <p:nvGraphicFramePr>
          <p:cNvPr id="328" name="Chart 5">
            <a:extLst>
              <a:ext uri="{FF2B5EF4-FFF2-40B4-BE49-F238E27FC236}">
                <a16:creationId xmlns:a16="http://schemas.microsoft.com/office/drawing/2014/main" id="{EBA5AE73-993F-4613-86AB-62DCF93BC90B}"/>
              </a:ext>
            </a:extLst>
          </p:cNvPr>
          <p:cNvGraphicFramePr/>
          <p:nvPr/>
        </p:nvGraphicFramePr>
        <p:xfrm>
          <a:off x="3342660" y="2640891"/>
          <a:ext cx="3037500" cy="101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329" name="Frihandsfigur: Form 328">
            <a:extLst>
              <a:ext uri="{FF2B5EF4-FFF2-40B4-BE49-F238E27FC236}">
                <a16:creationId xmlns:a16="http://schemas.microsoft.com/office/drawing/2014/main" id="{9926A1F4-BB1A-6CB1-3E69-1DB9D3E823C8}"/>
              </a:ext>
            </a:extLst>
          </p:cNvPr>
          <p:cNvSpPr/>
          <p:nvPr/>
        </p:nvSpPr>
        <p:spPr>
          <a:xfrm>
            <a:off x="3292035" y="2637715"/>
            <a:ext cx="3138750" cy="108000"/>
          </a:xfrm>
          <a:custGeom>
            <a:avLst/>
            <a:gdLst>
              <a:gd name="connsiteX0" fmla="*/ 171497 w 5580000"/>
              <a:gd name="connsiteY0" fmla="*/ 36000 h 612000"/>
              <a:gd name="connsiteX1" fmla="*/ 90000 w 5580000"/>
              <a:gd name="connsiteY1" fmla="*/ 117497 h 612000"/>
              <a:gd name="connsiteX2" fmla="*/ 90000 w 5580000"/>
              <a:gd name="connsiteY2" fmla="*/ 494503 h 612000"/>
              <a:gd name="connsiteX3" fmla="*/ 171497 w 5580000"/>
              <a:gd name="connsiteY3" fmla="*/ 576000 h 612000"/>
              <a:gd name="connsiteX4" fmla="*/ 5408503 w 5580000"/>
              <a:gd name="connsiteY4" fmla="*/ 576000 h 612000"/>
              <a:gd name="connsiteX5" fmla="*/ 5490000 w 5580000"/>
              <a:gd name="connsiteY5" fmla="*/ 494503 h 612000"/>
              <a:gd name="connsiteX6" fmla="*/ 5490000 w 5580000"/>
              <a:gd name="connsiteY6" fmla="*/ 117497 h 612000"/>
              <a:gd name="connsiteX7" fmla="*/ 5408503 w 5580000"/>
              <a:gd name="connsiteY7" fmla="*/ 36000 h 612000"/>
              <a:gd name="connsiteX8" fmla="*/ 92363 w 5580000"/>
              <a:gd name="connsiteY8" fmla="*/ 0 h 612000"/>
              <a:gd name="connsiteX9" fmla="*/ 5487637 w 5580000"/>
              <a:gd name="connsiteY9" fmla="*/ 0 h 612000"/>
              <a:gd name="connsiteX10" fmla="*/ 5580000 w 5580000"/>
              <a:gd name="connsiteY10" fmla="*/ 92363 h 612000"/>
              <a:gd name="connsiteX11" fmla="*/ 5580000 w 5580000"/>
              <a:gd name="connsiteY11" fmla="*/ 519637 h 612000"/>
              <a:gd name="connsiteX12" fmla="*/ 5487637 w 5580000"/>
              <a:gd name="connsiteY12" fmla="*/ 612000 h 612000"/>
              <a:gd name="connsiteX13" fmla="*/ 92363 w 5580000"/>
              <a:gd name="connsiteY13" fmla="*/ 612000 h 612000"/>
              <a:gd name="connsiteX14" fmla="*/ 0 w 5580000"/>
              <a:gd name="connsiteY14" fmla="*/ 519637 h 612000"/>
              <a:gd name="connsiteX15" fmla="*/ 0 w 5580000"/>
              <a:gd name="connsiteY15" fmla="*/ 92363 h 612000"/>
              <a:gd name="connsiteX16" fmla="*/ 92363 w 5580000"/>
              <a:gd name="connsiteY16" fmla="*/ 0 h 61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580000" h="612000">
                <a:moveTo>
                  <a:pt x="171497" y="36000"/>
                </a:moveTo>
                <a:cubicBezTo>
                  <a:pt x="126487" y="36000"/>
                  <a:pt x="90000" y="72487"/>
                  <a:pt x="90000" y="117497"/>
                </a:cubicBezTo>
                <a:lnTo>
                  <a:pt x="90000" y="494503"/>
                </a:lnTo>
                <a:cubicBezTo>
                  <a:pt x="90000" y="539513"/>
                  <a:pt x="126487" y="576000"/>
                  <a:pt x="171497" y="576000"/>
                </a:cubicBezTo>
                <a:lnTo>
                  <a:pt x="5408503" y="576000"/>
                </a:lnTo>
                <a:cubicBezTo>
                  <a:pt x="5453513" y="576000"/>
                  <a:pt x="5490000" y="539513"/>
                  <a:pt x="5490000" y="494503"/>
                </a:cubicBezTo>
                <a:lnTo>
                  <a:pt x="5490000" y="117497"/>
                </a:lnTo>
                <a:cubicBezTo>
                  <a:pt x="5490000" y="72487"/>
                  <a:pt x="5453513" y="36000"/>
                  <a:pt x="5408503" y="36000"/>
                </a:cubicBezTo>
                <a:close/>
                <a:moveTo>
                  <a:pt x="92363" y="0"/>
                </a:moveTo>
                <a:lnTo>
                  <a:pt x="5487637" y="0"/>
                </a:lnTo>
                <a:cubicBezTo>
                  <a:pt x="5538648" y="0"/>
                  <a:pt x="5580000" y="41352"/>
                  <a:pt x="5580000" y="92363"/>
                </a:cubicBezTo>
                <a:lnTo>
                  <a:pt x="5580000" y="519637"/>
                </a:lnTo>
                <a:cubicBezTo>
                  <a:pt x="5580000" y="570648"/>
                  <a:pt x="5538648" y="612000"/>
                  <a:pt x="5487637" y="612000"/>
                </a:cubicBezTo>
                <a:lnTo>
                  <a:pt x="92363" y="612000"/>
                </a:lnTo>
                <a:cubicBezTo>
                  <a:pt x="41352" y="612000"/>
                  <a:pt x="0" y="570648"/>
                  <a:pt x="0" y="519637"/>
                </a:cubicBezTo>
                <a:lnTo>
                  <a:pt x="0" y="92363"/>
                </a:lnTo>
                <a:cubicBezTo>
                  <a:pt x="0" y="41352"/>
                  <a:pt x="41352" y="0"/>
                  <a:pt x="92363" y="0"/>
                </a:cubicBezTo>
                <a:close/>
              </a:path>
            </a:pathLst>
          </a:custGeom>
          <a:solidFill>
            <a:srgbClr val="FFFFFF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1013">
              <a:solidFill>
                <a:prstClr val="white"/>
              </a:solidFill>
              <a:cs typeface="Arial"/>
            </a:endParaRPr>
          </a:p>
        </p:txBody>
      </p:sp>
      <p:sp>
        <p:nvSpPr>
          <p:cNvPr id="330" name="Rektangel: rundade hörn 329">
            <a:extLst>
              <a:ext uri="{FF2B5EF4-FFF2-40B4-BE49-F238E27FC236}">
                <a16:creationId xmlns:a16="http://schemas.microsoft.com/office/drawing/2014/main" id="{EEC9ECC5-CC2E-2C58-B29B-A67057EDD51E}"/>
              </a:ext>
            </a:extLst>
          </p:cNvPr>
          <p:cNvSpPr/>
          <p:nvPr/>
        </p:nvSpPr>
        <p:spPr>
          <a:xfrm>
            <a:off x="3342660" y="2644069"/>
            <a:ext cx="3037500" cy="95294"/>
          </a:xfrm>
          <a:prstGeom prst="roundRect">
            <a:avLst>
              <a:gd name="adj" fmla="val 15092"/>
            </a:avLst>
          </a:prstGeom>
          <a:noFill/>
          <a:ln w="19050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1013">
              <a:solidFill>
                <a:prstClr val="white"/>
              </a:solidFill>
              <a:cs typeface="Arial"/>
            </a:endParaRPr>
          </a:p>
        </p:txBody>
      </p:sp>
      <p:sp>
        <p:nvSpPr>
          <p:cNvPr id="392" name="Ellips 391">
            <a:extLst>
              <a:ext uri="{FF2B5EF4-FFF2-40B4-BE49-F238E27FC236}">
                <a16:creationId xmlns:a16="http://schemas.microsoft.com/office/drawing/2014/main" id="{6F9FDF9A-ADAA-B8EE-D0FB-304074ADCE6E}"/>
              </a:ext>
            </a:extLst>
          </p:cNvPr>
          <p:cNvSpPr/>
          <p:nvPr/>
        </p:nvSpPr>
        <p:spPr>
          <a:xfrm>
            <a:off x="2701370" y="2644465"/>
            <a:ext cx="94500" cy="94500"/>
          </a:xfrm>
          <a:prstGeom prst="ellipse">
            <a:avLst/>
          </a:prstGeom>
          <a:solidFill>
            <a:srgbClr val="83E7AF"/>
          </a:solidFill>
          <a:ln w="1905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00">
                <a:cs typeface="Arial" panose="020B0604020202020204" pitchFamily="34" charset="0"/>
              </a:rPr>
              <a:t>+2</a:t>
            </a:r>
          </a:p>
        </p:txBody>
      </p:sp>
      <p:sp>
        <p:nvSpPr>
          <p:cNvPr id="393" name="Ellips 392">
            <a:extLst>
              <a:ext uri="{FF2B5EF4-FFF2-40B4-BE49-F238E27FC236}">
                <a16:creationId xmlns:a16="http://schemas.microsoft.com/office/drawing/2014/main" id="{7D3F46C9-66A2-758D-F611-25492E332770}"/>
              </a:ext>
            </a:extLst>
          </p:cNvPr>
          <p:cNvSpPr/>
          <p:nvPr/>
        </p:nvSpPr>
        <p:spPr>
          <a:xfrm>
            <a:off x="3092435" y="2644465"/>
            <a:ext cx="94500" cy="94500"/>
          </a:xfrm>
          <a:prstGeom prst="ellipse">
            <a:avLst/>
          </a:prstGeom>
          <a:solidFill>
            <a:srgbClr val="83E7AF"/>
          </a:solidFill>
          <a:ln w="1905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00">
                <a:cs typeface="Arial" panose="020B0604020202020204" pitchFamily="34" charset="0"/>
              </a:rPr>
              <a:t>+8</a:t>
            </a:r>
          </a:p>
        </p:txBody>
      </p:sp>
      <p:sp>
        <p:nvSpPr>
          <p:cNvPr id="427" name="Rektangel: rundade hörn 426">
            <a:extLst>
              <a:ext uri="{FF2B5EF4-FFF2-40B4-BE49-F238E27FC236}">
                <a16:creationId xmlns:a16="http://schemas.microsoft.com/office/drawing/2014/main" id="{8C877FF3-686D-EA13-E841-F08969C4A4CF}"/>
              </a:ext>
            </a:extLst>
          </p:cNvPr>
          <p:cNvSpPr/>
          <p:nvPr/>
        </p:nvSpPr>
        <p:spPr>
          <a:xfrm>
            <a:off x="2222666" y="2637715"/>
            <a:ext cx="303750" cy="108000"/>
          </a:xfrm>
          <a:prstGeom prst="roundRect">
            <a:avLst/>
          </a:prstGeom>
          <a:noFill/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450" b="1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72</a:t>
            </a:r>
          </a:p>
        </p:txBody>
      </p:sp>
      <p:sp>
        <p:nvSpPr>
          <p:cNvPr id="449" name="Rektangel: rundade hörn 448">
            <a:extLst>
              <a:ext uri="{FF2B5EF4-FFF2-40B4-BE49-F238E27FC236}">
                <a16:creationId xmlns:a16="http://schemas.microsoft.com/office/drawing/2014/main" id="{C1679387-98E5-142A-0BB8-11A2C3897F5E}"/>
              </a:ext>
            </a:extLst>
          </p:cNvPr>
          <p:cNvSpPr/>
          <p:nvPr/>
        </p:nvSpPr>
        <p:spPr>
          <a:xfrm>
            <a:off x="1452216" y="2637715"/>
            <a:ext cx="819497" cy="108000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21500" tIns="20250" rIns="10125" bIns="20250" rtlCol="0" anchor="ctr">
            <a:normAutofit lnSpcReduction="10000"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75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Tydlighet - Prioriteringar</a:t>
            </a:r>
          </a:p>
        </p:txBody>
      </p:sp>
      <p:graphicFrame>
        <p:nvGraphicFramePr>
          <p:cNvPr id="331" name="Chart 5">
            <a:extLst>
              <a:ext uri="{FF2B5EF4-FFF2-40B4-BE49-F238E27FC236}">
                <a16:creationId xmlns:a16="http://schemas.microsoft.com/office/drawing/2014/main" id="{CE90E3DD-005B-C541-72FA-20A7AB9A3C64}"/>
              </a:ext>
            </a:extLst>
          </p:cNvPr>
          <p:cNvGraphicFramePr/>
          <p:nvPr/>
        </p:nvGraphicFramePr>
        <p:xfrm>
          <a:off x="3342660" y="2839834"/>
          <a:ext cx="3037500" cy="101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332" name="Frihandsfigur: Form 331">
            <a:extLst>
              <a:ext uri="{FF2B5EF4-FFF2-40B4-BE49-F238E27FC236}">
                <a16:creationId xmlns:a16="http://schemas.microsoft.com/office/drawing/2014/main" id="{F6DB8C16-1FDA-74DF-5D16-7FCB0C55839F}"/>
              </a:ext>
            </a:extLst>
          </p:cNvPr>
          <p:cNvSpPr/>
          <p:nvPr/>
        </p:nvSpPr>
        <p:spPr>
          <a:xfrm>
            <a:off x="3292035" y="2836658"/>
            <a:ext cx="3138750" cy="108000"/>
          </a:xfrm>
          <a:custGeom>
            <a:avLst/>
            <a:gdLst>
              <a:gd name="connsiteX0" fmla="*/ 171497 w 5580000"/>
              <a:gd name="connsiteY0" fmla="*/ 36000 h 612000"/>
              <a:gd name="connsiteX1" fmla="*/ 90000 w 5580000"/>
              <a:gd name="connsiteY1" fmla="*/ 117497 h 612000"/>
              <a:gd name="connsiteX2" fmla="*/ 90000 w 5580000"/>
              <a:gd name="connsiteY2" fmla="*/ 494503 h 612000"/>
              <a:gd name="connsiteX3" fmla="*/ 171497 w 5580000"/>
              <a:gd name="connsiteY3" fmla="*/ 576000 h 612000"/>
              <a:gd name="connsiteX4" fmla="*/ 5408503 w 5580000"/>
              <a:gd name="connsiteY4" fmla="*/ 576000 h 612000"/>
              <a:gd name="connsiteX5" fmla="*/ 5490000 w 5580000"/>
              <a:gd name="connsiteY5" fmla="*/ 494503 h 612000"/>
              <a:gd name="connsiteX6" fmla="*/ 5490000 w 5580000"/>
              <a:gd name="connsiteY6" fmla="*/ 117497 h 612000"/>
              <a:gd name="connsiteX7" fmla="*/ 5408503 w 5580000"/>
              <a:gd name="connsiteY7" fmla="*/ 36000 h 612000"/>
              <a:gd name="connsiteX8" fmla="*/ 92363 w 5580000"/>
              <a:gd name="connsiteY8" fmla="*/ 0 h 612000"/>
              <a:gd name="connsiteX9" fmla="*/ 5487637 w 5580000"/>
              <a:gd name="connsiteY9" fmla="*/ 0 h 612000"/>
              <a:gd name="connsiteX10" fmla="*/ 5580000 w 5580000"/>
              <a:gd name="connsiteY10" fmla="*/ 92363 h 612000"/>
              <a:gd name="connsiteX11" fmla="*/ 5580000 w 5580000"/>
              <a:gd name="connsiteY11" fmla="*/ 519637 h 612000"/>
              <a:gd name="connsiteX12" fmla="*/ 5487637 w 5580000"/>
              <a:gd name="connsiteY12" fmla="*/ 612000 h 612000"/>
              <a:gd name="connsiteX13" fmla="*/ 92363 w 5580000"/>
              <a:gd name="connsiteY13" fmla="*/ 612000 h 612000"/>
              <a:gd name="connsiteX14" fmla="*/ 0 w 5580000"/>
              <a:gd name="connsiteY14" fmla="*/ 519637 h 612000"/>
              <a:gd name="connsiteX15" fmla="*/ 0 w 5580000"/>
              <a:gd name="connsiteY15" fmla="*/ 92363 h 612000"/>
              <a:gd name="connsiteX16" fmla="*/ 92363 w 5580000"/>
              <a:gd name="connsiteY16" fmla="*/ 0 h 61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580000" h="612000">
                <a:moveTo>
                  <a:pt x="171497" y="36000"/>
                </a:moveTo>
                <a:cubicBezTo>
                  <a:pt x="126487" y="36000"/>
                  <a:pt x="90000" y="72487"/>
                  <a:pt x="90000" y="117497"/>
                </a:cubicBezTo>
                <a:lnTo>
                  <a:pt x="90000" y="494503"/>
                </a:lnTo>
                <a:cubicBezTo>
                  <a:pt x="90000" y="539513"/>
                  <a:pt x="126487" y="576000"/>
                  <a:pt x="171497" y="576000"/>
                </a:cubicBezTo>
                <a:lnTo>
                  <a:pt x="5408503" y="576000"/>
                </a:lnTo>
                <a:cubicBezTo>
                  <a:pt x="5453513" y="576000"/>
                  <a:pt x="5490000" y="539513"/>
                  <a:pt x="5490000" y="494503"/>
                </a:cubicBezTo>
                <a:lnTo>
                  <a:pt x="5490000" y="117497"/>
                </a:lnTo>
                <a:cubicBezTo>
                  <a:pt x="5490000" y="72487"/>
                  <a:pt x="5453513" y="36000"/>
                  <a:pt x="5408503" y="36000"/>
                </a:cubicBezTo>
                <a:close/>
                <a:moveTo>
                  <a:pt x="92363" y="0"/>
                </a:moveTo>
                <a:lnTo>
                  <a:pt x="5487637" y="0"/>
                </a:lnTo>
                <a:cubicBezTo>
                  <a:pt x="5538648" y="0"/>
                  <a:pt x="5580000" y="41352"/>
                  <a:pt x="5580000" y="92363"/>
                </a:cubicBezTo>
                <a:lnTo>
                  <a:pt x="5580000" y="519637"/>
                </a:lnTo>
                <a:cubicBezTo>
                  <a:pt x="5580000" y="570648"/>
                  <a:pt x="5538648" y="612000"/>
                  <a:pt x="5487637" y="612000"/>
                </a:cubicBezTo>
                <a:lnTo>
                  <a:pt x="92363" y="612000"/>
                </a:lnTo>
                <a:cubicBezTo>
                  <a:pt x="41352" y="612000"/>
                  <a:pt x="0" y="570648"/>
                  <a:pt x="0" y="519637"/>
                </a:cubicBezTo>
                <a:lnTo>
                  <a:pt x="0" y="92363"/>
                </a:lnTo>
                <a:cubicBezTo>
                  <a:pt x="0" y="41352"/>
                  <a:pt x="41352" y="0"/>
                  <a:pt x="92363" y="0"/>
                </a:cubicBezTo>
                <a:close/>
              </a:path>
            </a:pathLst>
          </a:custGeom>
          <a:solidFill>
            <a:srgbClr val="FFFFFF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1013">
              <a:solidFill>
                <a:prstClr val="white"/>
              </a:solidFill>
              <a:cs typeface="Arial"/>
            </a:endParaRPr>
          </a:p>
        </p:txBody>
      </p:sp>
      <p:sp>
        <p:nvSpPr>
          <p:cNvPr id="333" name="Rektangel: rundade hörn 332">
            <a:extLst>
              <a:ext uri="{FF2B5EF4-FFF2-40B4-BE49-F238E27FC236}">
                <a16:creationId xmlns:a16="http://schemas.microsoft.com/office/drawing/2014/main" id="{42B5C9C3-D0B8-6D8D-C867-5C233C417BF1}"/>
              </a:ext>
            </a:extLst>
          </p:cNvPr>
          <p:cNvSpPr/>
          <p:nvPr/>
        </p:nvSpPr>
        <p:spPr>
          <a:xfrm>
            <a:off x="3342660" y="2843011"/>
            <a:ext cx="3037500" cy="95294"/>
          </a:xfrm>
          <a:prstGeom prst="roundRect">
            <a:avLst>
              <a:gd name="adj" fmla="val 15092"/>
            </a:avLst>
          </a:prstGeom>
          <a:noFill/>
          <a:ln w="19050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1013">
              <a:solidFill>
                <a:prstClr val="white"/>
              </a:solidFill>
              <a:cs typeface="Arial"/>
            </a:endParaRPr>
          </a:p>
        </p:txBody>
      </p:sp>
      <p:sp>
        <p:nvSpPr>
          <p:cNvPr id="394" name="Ellips 393">
            <a:extLst>
              <a:ext uri="{FF2B5EF4-FFF2-40B4-BE49-F238E27FC236}">
                <a16:creationId xmlns:a16="http://schemas.microsoft.com/office/drawing/2014/main" id="{D2BDA34E-68D1-DB36-2FFD-8574766814E5}"/>
              </a:ext>
            </a:extLst>
          </p:cNvPr>
          <p:cNvSpPr/>
          <p:nvPr/>
        </p:nvSpPr>
        <p:spPr>
          <a:xfrm>
            <a:off x="2701370" y="2843408"/>
            <a:ext cx="94500" cy="94500"/>
          </a:xfrm>
          <a:prstGeom prst="ellipse">
            <a:avLst/>
          </a:prstGeom>
          <a:solidFill>
            <a:srgbClr val="F2F2F2"/>
          </a:solidFill>
          <a:ln w="1905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00">
                <a:solidFill>
                  <a:srgbClr val="4E5758"/>
                </a:solidFill>
                <a:cs typeface="Arial" panose="020B0604020202020204" pitchFamily="34" charset="0"/>
              </a:rPr>
              <a:t>-</a:t>
            </a:r>
          </a:p>
        </p:txBody>
      </p:sp>
      <p:sp>
        <p:nvSpPr>
          <p:cNvPr id="395" name="Ellips 394">
            <a:extLst>
              <a:ext uri="{FF2B5EF4-FFF2-40B4-BE49-F238E27FC236}">
                <a16:creationId xmlns:a16="http://schemas.microsoft.com/office/drawing/2014/main" id="{4C669C05-DCFA-5223-BB00-5A7E3C3A1BAF}"/>
              </a:ext>
            </a:extLst>
          </p:cNvPr>
          <p:cNvSpPr/>
          <p:nvPr/>
        </p:nvSpPr>
        <p:spPr>
          <a:xfrm>
            <a:off x="3092435" y="2843408"/>
            <a:ext cx="94500" cy="94500"/>
          </a:xfrm>
          <a:prstGeom prst="ellipse">
            <a:avLst/>
          </a:prstGeom>
          <a:solidFill>
            <a:srgbClr val="FE9D93"/>
          </a:solidFill>
          <a:ln w="1905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00">
                <a:cs typeface="Arial" panose="020B0604020202020204" pitchFamily="34" charset="0"/>
              </a:rPr>
              <a:t>-8</a:t>
            </a:r>
          </a:p>
        </p:txBody>
      </p:sp>
      <p:sp>
        <p:nvSpPr>
          <p:cNvPr id="428" name="Rektangel: rundade hörn 427">
            <a:extLst>
              <a:ext uri="{FF2B5EF4-FFF2-40B4-BE49-F238E27FC236}">
                <a16:creationId xmlns:a16="http://schemas.microsoft.com/office/drawing/2014/main" id="{824FC714-C20E-B2A0-40AC-8C75EE07A87E}"/>
              </a:ext>
            </a:extLst>
          </p:cNvPr>
          <p:cNvSpPr/>
          <p:nvPr/>
        </p:nvSpPr>
        <p:spPr>
          <a:xfrm>
            <a:off x="2222666" y="2836658"/>
            <a:ext cx="303750" cy="108000"/>
          </a:xfrm>
          <a:prstGeom prst="roundRect">
            <a:avLst/>
          </a:prstGeom>
          <a:noFill/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450" b="1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66</a:t>
            </a:r>
          </a:p>
        </p:txBody>
      </p:sp>
      <p:sp>
        <p:nvSpPr>
          <p:cNvPr id="450" name="Rektangel: rundade hörn 449">
            <a:extLst>
              <a:ext uri="{FF2B5EF4-FFF2-40B4-BE49-F238E27FC236}">
                <a16:creationId xmlns:a16="http://schemas.microsoft.com/office/drawing/2014/main" id="{FA014985-296E-970D-78E2-3DD5E58D5228}"/>
              </a:ext>
            </a:extLst>
          </p:cNvPr>
          <p:cNvSpPr/>
          <p:nvPr/>
        </p:nvSpPr>
        <p:spPr>
          <a:xfrm>
            <a:off x="1452216" y="2836658"/>
            <a:ext cx="819497" cy="108000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21500" tIns="20250" rIns="10125" bIns="20250" rtlCol="0" anchor="ctr">
            <a:normAutofit lnSpcReduction="10000"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75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[Fokus] Fysisk arbetsmiljö 1</a:t>
            </a:r>
          </a:p>
        </p:txBody>
      </p:sp>
      <p:graphicFrame>
        <p:nvGraphicFramePr>
          <p:cNvPr id="334" name="Chart 5">
            <a:extLst>
              <a:ext uri="{FF2B5EF4-FFF2-40B4-BE49-F238E27FC236}">
                <a16:creationId xmlns:a16="http://schemas.microsoft.com/office/drawing/2014/main" id="{84D9A092-3B55-5084-4C98-9C113377660E}"/>
              </a:ext>
            </a:extLst>
          </p:cNvPr>
          <p:cNvGraphicFramePr/>
          <p:nvPr/>
        </p:nvGraphicFramePr>
        <p:xfrm>
          <a:off x="3342660" y="2965035"/>
          <a:ext cx="3037500" cy="101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335" name="Frihandsfigur: Form 334">
            <a:extLst>
              <a:ext uri="{FF2B5EF4-FFF2-40B4-BE49-F238E27FC236}">
                <a16:creationId xmlns:a16="http://schemas.microsoft.com/office/drawing/2014/main" id="{81A4B076-3B96-FA97-7BF7-FA27CE10888C}"/>
              </a:ext>
            </a:extLst>
          </p:cNvPr>
          <p:cNvSpPr/>
          <p:nvPr/>
        </p:nvSpPr>
        <p:spPr>
          <a:xfrm>
            <a:off x="3292035" y="2961858"/>
            <a:ext cx="3138750" cy="108000"/>
          </a:xfrm>
          <a:custGeom>
            <a:avLst/>
            <a:gdLst>
              <a:gd name="connsiteX0" fmla="*/ 171497 w 5580000"/>
              <a:gd name="connsiteY0" fmla="*/ 36000 h 612000"/>
              <a:gd name="connsiteX1" fmla="*/ 90000 w 5580000"/>
              <a:gd name="connsiteY1" fmla="*/ 117497 h 612000"/>
              <a:gd name="connsiteX2" fmla="*/ 90000 w 5580000"/>
              <a:gd name="connsiteY2" fmla="*/ 494503 h 612000"/>
              <a:gd name="connsiteX3" fmla="*/ 171497 w 5580000"/>
              <a:gd name="connsiteY3" fmla="*/ 576000 h 612000"/>
              <a:gd name="connsiteX4" fmla="*/ 5408503 w 5580000"/>
              <a:gd name="connsiteY4" fmla="*/ 576000 h 612000"/>
              <a:gd name="connsiteX5" fmla="*/ 5490000 w 5580000"/>
              <a:gd name="connsiteY5" fmla="*/ 494503 h 612000"/>
              <a:gd name="connsiteX6" fmla="*/ 5490000 w 5580000"/>
              <a:gd name="connsiteY6" fmla="*/ 117497 h 612000"/>
              <a:gd name="connsiteX7" fmla="*/ 5408503 w 5580000"/>
              <a:gd name="connsiteY7" fmla="*/ 36000 h 612000"/>
              <a:gd name="connsiteX8" fmla="*/ 92363 w 5580000"/>
              <a:gd name="connsiteY8" fmla="*/ 0 h 612000"/>
              <a:gd name="connsiteX9" fmla="*/ 5487637 w 5580000"/>
              <a:gd name="connsiteY9" fmla="*/ 0 h 612000"/>
              <a:gd name="connsiteX10" fmla="*/ 5580000 w 5580000"/>
              <a:gd name="connsiteY10" fmla="*/ 92363 h 612000"/>
              <a:gd name="connsiteX11" fmla="*/ 5580000 w 5580000"/>
              <a:gd name="connsiteY11" fmla="*/ 519637 h 612000"/>
              <a:gd name="connsiteX12" fmla="*/ 5487637 w 5580000"/>
              <a:gd name="connsiteY12" fmla="*/ 612000 h 612000"/>
              <a:gd name="connsiteX13" fmla="*/ 92363 w 5580000"/>
              <a:gd name="connsiteY13" fmla="*/ 612000 h 612000"/>
              <a:gd name="connsiteX14" fmla="*/ 0 w 5580000"/>
              <a:gd name="connsiteY14" fmla="*/ 519637 h 612000"/>
              <a:gd name="connsiteX15" fmla="*/ 0 w 5580000"/>
              <a:gd name="connsiteY15" fmla="*/ 92363 h 612000"/>
              <a:gd name="connsiteX16" fmla="*/ 92363 w 5580000"/>
              <a:gd name="connsiteY16" fmla="*/ 0 h 61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580000" h="612000">
                <a:moveTo>
                  <a:pt x="171497" y="36000"/>
                </a:moveTo>
                <a:cubicBezTo>
                  <a:pt x="126487" y="36000"/>
                  <a:pt x="90000" y="72487"/>
                  <a:pt x="90000" y="117497"/>
                </a:cubicBezTo>
                <a:lnTo>
                  <a:pt x="90000" y="494503"/>
                </a:lnTo>
                <a:cubicBezTo>
                  <a:pt x="90000" y="539513"/>
                  <a:pt x="126487" y="576000"/>
                  <a:pt x="171497" y="576000"/>
                </a:cubicBezTo>
                <a:lnTo>
                  <a:pt x="5408503" y="576000"/>
                </a:lnTo>
                <a:cubicBezTo>
                  <a:pt x="5453513" y="576000"/>
                  <a:pt x="5490000" y="539513"/>
                  <a:pt x="5490000" y="494503"/>
                </a:cubicBezTo>
                <a:lnTo>
                  <a:pt x="5490000" y="117497"/>
                </a:lnTo>
                <a:cubicBezTo>
                  <a:pt x="5490000" y="72487"/>
                  <a:pt x="5453513" y="36000"/>
                  <a:pt x="5408503" y="36000"/>
                </a:cubicBezTo>
                <a:close/>
                <a:moveTo>
                  <a:pt x="92363" y="0"/>
                </a:moveTo>
                <a:lnTo>
                  <a:pt x="5487637" y="0"/>
                </a:lnTo>
                <a:cubicBezTo>
                  <a:pt x="5538648" y="0"/>
                  <a:pt x="5580000" y="41352"/>
                  <a:pt x="5580000" y="92363"/>
                </a:cubicBezTo>
                <a:lnTo>
                  <a:pt x="5580000" y="519637"/>
                </a:lnTo>
                <a:cubicBezTo>
                  <a:pt x="5580000" y="570648"/>
                  <a:pt x="5538648" y="612000"/>
                  <a:pt x="5487637" y="612000"/>
                </a:cubicBezTo>
                <a:lnTo>
                  <a:pt x="92363" y="612000"/>
                </a:lnTo>
                <a:cubicBezTo>
                  <a:pt x="41352" y="612000"/>
                  <a:pt x="0" y="570648"/>
                  <a:pt x="0" y="519637"/>
                </a:cubicBezTo>
                <a:lnTo>
                  <a:pt x="0" y="92363"/>
                </a:lnTo>
                <a:cubicBezTo>
                  <a:pt x="0" y="41352"/>
                  <a:pt x="41352" y="0"/>
                  <a:pt x="92363" y="0"/>
                </a:cubicBezTo>
                <a:close/>
              </a:path>
            </a:pathLst>
          </a:custGeom>
          <a:solidFill>
            <a:srgbClr val="FFFFFF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1013">
              <a:solidFill>
                <a:prstClr val="white"/>
              </a:solidFill>
              <a:cs typeface="Arial"/>
            </a:endParaRPr>
          </a:p>
        </p:txBody>
      </p:sp>
      <p:sp>
        <p:nvSpPr>
          <p:cNvPr id="336" name="Rektangel: rundade hörn 335">
            <a:extLst>
              <a:ext uri="{FF2B5EF4-FFF2-40B4-BE49-F238E27FC236}">
                <a16:creationId xmlns:a16="http://schemas.microsoft.com/office/drawing/2014/main" id="{2604B678-9005-0108-A9CA-AEABBD6F74B1}"/>
              </a:ext>
            </a:extLst>
          </p:cNvPr>
          <p:cNvSpPr/>
          <p:nvPr/>
        </p:nvSpPr>
        <p:spPr>
          <a:xfrm>
            <a:off x="3342660" y="2968212"/>
            <a:ext cx="3037500" cy="95294"/>
          </a:xfrm>
          <a:prstGeom prst="roundRect">
            <a:avLst>
              <a:gd name="adj" fmla="val 15092"/>
            </a:avLst>
          </a:prstGeom>
          <a:noFill/>
          <a:ln w="19050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1013">
              <a:solidFill>
                <a:prstClr val="white"/>
              </a:solidFill>
              <a:cs typeface="Arial"/>
            </a:endParaRPr>
          </a:p>
        </p:txBody>
      </p:sp>
      <p:sp>
        <p:nvSpPr>
          <p:cNvPr id="396" name="Ellips 395">
            <a:extLst>
              <a:ext uri="{FF2B5EF4-FFF2-40B4-BE49-F238E27FC236}">
                <a16:creationId xmlns:a16="http://schemas.microsoft.com/office/drawing/2014/main" id="{4F07C11C-4D53-D94F-2F80-AF169866C798}"/>
              </a:ext>
            </a:extLst>
          </p:cNvPr>
          <p:cNvSpPr/>
          <p:nvPr/>
        </p:nvSpPr>
        <p:spPr>
          <a:xfrm>
            <a:off x="2701370" y="2967995"/>
            <a:ext cx="94500" cy="94500"/>
          </a:xfrm>
          <a:prstGeom prst="ellipse">
            <a:avLst/>
          </a:prstGeom>
          <a:solidFill>
            <a:srgbClr val="F2F2F2"/>
          </a:solidFill>
          <a:ln w="1905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00">
                <a:solidFill>
                  <a:srgbClr val="4E5758"/>
                </a:solidFill>
                <a:cs typeface="Arial" panose="020B0604020202020204" pitchFamily="34" charset="0"/>
              </a:rPr>
              <a:t>-</a:t>
            </a:r>
          </a:p>
        </p:txBody>
      </p:sp>
      <p:sp>
        <p:nvSpPr>
          <p:cNvPr id="397" name="Ellips 396">
            <a:extLst>
              <a:ext uri="{FF2B5EF4-FFF2-40B4-BE49-F238E27FC236}">
                <a16:creationId xmlns:a16="http://schemas.microsoft.com/office/drawing/2014/main" id="{15231C2D-FEBC-88FB-74C8-05F0AC1BB912}"/>
              </a:ext>
            </a:extLst>
          </p:cNvPr>
          <p:cNvSpPr/>
          <p:nvPr/>
        </p:nvSpPr>
        <p:spPr>
          <a:xfrm>
            <a:off x="3092435" y="2967995"/>
            <a:ext cx="94500" cy="94500"/>
          </a:xfrm>
          <a:prstGeom prst="ellipse">
            <a:avLst/>
          </a:prstGeom>
          <a:solidFill>
            <a:srgbClr val="F2F2F2"/>
          </a:solidFill>
          <a:ln w="1905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00">
                <a:solidFill>
                  <a:srgbClr val="4E5758"/>
                </a:solidFill>
                <a:cs typeface="Arial" panose="020B0604020202020204" pitchFamily="34" charset="0"/>
              </a:rPr>
              <a:t>±0</a:t>
            </a:r>
          </a:p>
        </p:txBody>
      </p:sp>
      <p:sp>
        <p:nvSpPr>
          <p:cNvPr id="429" name="Rektangel: rundade hörn 428">
            <a:extLst>
              <a:ext uri="{FF2B5EF4-FFF2-40B4-BE49-F238E27FC236}">
                <a16:creationId xmlns:a16="http://schemas.microsoft.com/office/drawing/2014/main" id="{5CA0942C-B0CD-CD27-6FDE-2DB5DECF719F}"/>
              </a:ext>
            </a:extLst>
          </p:cNvPr>
          <p:cNvSpPr/>
          <p:nvPr/>
        </p:nvSpPr>
        <p:spPr>
          <a:xfrm>
            <a:off x="2222666" y="2961858"/>
            <a:ext cx="303750" cy="108000"/>
          </a:xfrm>
          <a:prstGeom prst="roundRect">
            <a:avLst/>
          </a:prstGeom>
          <a:noFill/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450" b="1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46</a:t>
            </a:r>
          </a:p>
        </p:txBody>
      </p:sp>
      <p:sp>
        <p:nvSpPr>
          <p:cNvPr id="451" name="Rektangel: rundade hörn 450">
            <a:extLst>
              <a:ext uri="{FF2B5EF4-FFF2-40B4-BE49-F238E27FC236}">
                <a16:creationId xmlns:a16="http://schemas.microsoft.com/office/drawing/2014/main" id="{DDE13C78-B02E-605A-DD29-30A796E941C2}"/>
              </a:ext>
            </a:extLst>
          </p:cNvPr>
          <p:cNvSpPr/>
          <p:nvPr/>
        </p:nvSpPr>
        <p:spPr>
          <a:xfrm>
            <a:off x="1452216" y="2961858"/>
            <a:ext cx="819497" cy="108000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21500" tIns="20250" rIns="10125" bIns="20250" rtlCol="0" anchor="ctr">
            <a:normAutofit lnSpcReduction="10000"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75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[Fokus] Fysisk arbetsmiljö 2</a:t>
            </a:r>
          </a:p>
        </p:txBody>
      </p:sp>
      <p:graphicFrame>
        <p:nvGraphicFramePr>
          <p:cNvPr id="337" name="Chart 5">
            <a:extLst>
              <a:ext uri="{FF2B5EF4-FFF2-40B4-BE49-F238E27FC236}">
                <a16:creationId xmlns:a16="http://schemas.microsoft.com/office/drawing/2014/main" id="{2388B81A-C261-9823-51E2-396DFCC84FDF}"/>
              </a:ext>
            </a:extLst>
          </p:cNvPr>
          <p:cNvGraphicFramePr/>
          <p:nvPr/>
        </p:nvGraphicFramePr>
        <p:xfrm>
          <a:off x="3342660" y="3090235"/>
          <a:ext cx="3037500" cy="101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338" name="Frihandsfigur: Form 337">
            <a:extLst>
              <a:ext uri="{FF2B5EF4-FFF2-40B4-BE49-F238E27FC236}">
                <a16:creationId xmlns:a16="http://schemas.microsoft.com/office/drawing/2014/main" id="{F39A3730-B39E-8134-6D9B-8E05F1096336}"/>
              </a:ext>
            </a:extLst>
          </p:cNvPr>
          <p:cNvSpPr/>
          <p:nvPr/>
        </p:nvSpPr>
        <p:spPr>
          <a:xfrm>
            <a:off x="3292035" y="3087059"/>
            <a:ext cx="3138750" cy="108000"/>
          </a:xfrm>
          <a:custGeom>
            <a:avLst/>
            <a:gdLst>
              <a:gd name="connsiteX0" fmla="*/ 171497 w 5580000"/>
              <a:gd name="connsiteY0" fmla="*/ 36000 h 612000"/>
              <a:gd name="connsiteX1" fmla="*/ 90000 w 5580000"/>
              <a:gd name="connsiteY1" fmla="*/ 117497 h 612000"/>
              <a:gd name="connsiteX2" fmla="*/ 90000 w 5580000"/>
              <a:gd name="connsiteY2" fmla="*/ 494503 h 612000"/>
              <a:gd name="connsiteX3" fmla="*/ 171497 w 5580000"/>
              <a:gd name="connsiteY3" fmla="*/ 576000 h 612000"/>
              <a:gd name="connsiteX4" fmla="*/ 5408503 w 5580000"/>
              <a:gd name="connsiteY4" fmla="*/ 576000 h 612000"/>
              <a:gd name="connsiteX5" fmla="*/ 5490000 w 5580000"/>
              <a:gd name="connsiteY5" fmla="*/ 494503 h 612000"/>
              <a:gd name="connsiteX6" fmla="*/ 5490000 w 5580000"/>
              <a:gd name="connsiteY6" fmla="*/ 117497 h 612000"/>
              <a:gd name="connsiteX7" fmla="*/ 5408503 w 5580000"/>
              <a:gd name="connsiteY7" fmla="*/ 36000 h 612000"/>
              <a:gd name="connsiteX8" fmla="*/ 92363 w 5580000"/>
              <a:gd name="connsiteY8" fmla="*/ 0 h 612000"/>
              <a:gd name="connsiteX9" fmla="*/ 5487637 w 5580000"/>
              <a:gd name="connsiteY9" fmla="*/ 0 h 612000"/>
              <a:gd name="connsiteX10" fmla="*/ 5580000 w 5580000"/>
              <a:gd name="connsiteY10" fmla="*/ 92363 h 612000"/>
              <a:gd name="connsiteX11" fmla="*/ 5580000 w 5580000"/>
              <a:gd name="connsiteY11" fmla="*/ 519637 h 612000"/>
              <a:gd name="connsiteX12" fmla="*/ 5487637 w 5580000"/>
              <a:gd name="connsiteY12" fmla="*/ 612000 h 612000"/>
              <a:gd name="connsiteX13" fmla="*/ 92363 w 5580000"/>
              <a:gd name="connsiteY13" fmla="*/ 612000 h 612000"/>
              <a:gd name="connsiteX14" fmla="*/ 0 w 5580000"/>
              <a:gd name="connsiteY14" fmla="*/ 519637 h 612000"/>
              <a:gd name="connsiteX15" fmla="*/ 0 w 5580000"/>
              <a:gd name="connsiteY15" fmla="*/ 92363 h 612000"/>
              <a:gd name="connsiteX16" fmla="*/ 92363 w 5580000"/>
              <a:gd name="connsiteY16" fmla="*/ 0 h 61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580000" h="612000">
                <a:moveTo>
                  <a:pt x="171497" y="36000"/>
                </a:moveTo>
                <a:cubicBezTo>
                  <a:pt x="126487" y="36000"/>
                  <a:pt x="90000" y="72487"/>
                  <a:pt x="90000" y="117497"/>
                </a:cubicBezTo>
                <a:lnTo>
                  <a:pt x="90000" y="494503"/>
                </a:lnTo>
                <a:cubicBezTo>
                  <a:pt x="90000" y="539513"/>
                  <a:pt x="126487" y="576000"/>
                  <a:pt x="171497" y="576000"/>
                </a:cubicBezTo>
                <a:lnTo>
                  <a:pt x="5408503" y="576000"/>
                </a:lnTo>
                <a:cubicBezTo>
                  <a:pt x="5453513" y="576000"/>
                  <a:pt x="5490000" y="539513"/>
                  <a:pt x="5490000" y="494503"/>
                </a:cubicBezTo>
                <a:lnTo>
                  <a:pt x="5490000" y="117497"/>
                </a:lnTo>
                <a:cubicBezTo>
                  <a:pt x="5490000" y="72487"/>
                  <a:pt x="5453513" y="36000"/>
                  <a:pt x="5408503" y="36000"/>
                </a:cubicBezTo>
                <a:close/>
                <a:moveTo>
                  <a:pt x="92363" y="0"/>
                </a:moveTo>
                <a:lnTo>
                  <a:pt x="5487637" y="0"/>
                </a:lnTo>
                <a:cubicBezTo>
                  <a:pt x="5538648" y="0"/>
                  <a:pt x="5580000" y="41352"/>
                  <a:pt x="5580000" y="92363"/>
                </a:cubicBezTo>
                <a:lnTo>
                  <a:pt x="5580000" y="519637"/>
                </a:lnTo>
                <a:cubicBezTo>
                  <a:pt x="5580000" y="570648"/>
                  <a:pt x="5538648" y="612000"/>
                  <a:pt x="5487637" y="612000"/>
                </a:cubicBezTo>
                <a:lnTo>
                  <a:pt x="92363" y="612000"/>
                </a:lnTo>
                <a:cubicBezTo>
                  <a:pt x="41352" y="612000"/>
                  <a:pt x="0" y="570648"/>
                  <a:pt x="0" y="519637"/>
                </a:cubicBezTo>
                <a:lnTo>
                  <a:pt x="0" y="92363"/>
                </a:lnTo>
                <a:cubicBezTo>
                  <a:pt x="0" y="41352"/>
                  <a:pt x="41352" y="0"/>
                  <a:pt x="92363" y="0"/>
                </a:cubicBezTo>
                <a:close/>
              </a:path>
            </a:pathLst>
          </a:custGeom>
          <a:solidFill>
            <a:srgbClr val="FFFFFF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1013">
              <a:solidFill>
                <a:prstClr val="white"/>
              </a:solidFill>
              <a:cs typeface="Arial"/>
            </a:endParaRPr>
          </a:p>
        </p:txBody>
      </p:sp>
      <p:sp>
        <p:nvSpPr>
          <p:cNvPr id="339" name="Rektangel: rundade hörn 338">
            <a:extLst>
              <a:ext uri="{FF2B5EF4-FFF2-40B4-BE49-F238E27FC236}">
                <a16:creationId xmlns:a16="http://schemas.microsoft.com/office/drawing/2014/main" id="{DF351285-19B1-28E7-CA8C-03A316F80A86}"/>
              </a:ext>
            </a:extLst>
          </p:cNvPr>
          <p:cNvSpPr/>
          <p:nvPr/>
        </p:nvSpPr>
        <p:spPr>
          <a:xfrm>
            <a:off x="3342660" y="3093412"/>
            <a:ext cx="3037500" cy="95294"/>
          </a:xfrm>
          <a:prstGeom prst="roundRect">
            <a:avLst>
              <a:gd name="adj" fmla="val 15092"/>
            </a:avLst>
          </a:prstGeom>
          <a:noFill/>
          <a:ln w="19050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1013">
              <a:solidFill>
                <a:prstClr val="white"/>
              </a:solidFill>
              <a:cs typeface="Arial"/>
            </a:endParaRPr>
          </a:p>
        </p:txBody>
      </p:sp>
      <p:sp>
        <p:nvSpPr>
          <p:cNvPr id="398" name="Ellips 397">
            <a:extLst>
              <a:ext uri="{FF2B5EF4-FFF2-40B4-BE49-F238E27FC236}">
                <a16:creationId xmlns:a16="http://schemas.microsoft.com/office/drawing/2014/main" id="{A0575209-918A-184C-0ED8-436C508D1409}"/>
              </a:ext>
            </a:extLst>
          </p:cNvPr>
          <p:cNvSpPr/>
          <p:nvPr/>
        </p:nvSpPr>
        <p:spPr>
          <a:xfrm>
            <a:off x="2701370" y="3092582"/>
            <a:ext cx="94500" cy="94500"/>
          </a:xfrm>
          <a:prstGeom prst="ellipse">
            <a:avLst/>
          </a:prstGeom>
          <a:solidFill>
            <a:srgbClr val="F2F2F2"/>
          </a:solidFill>
          <a:ln w="1905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00">
                <a:solidFill>
                  <a:srgbClr val="4E5758"/>
                </a:solidFill>
                <a:cs typeface="Arial" panose="020B0604020202020204" pitchFamily="34" charset="0"/>
              </a:rPr>
              <a:t>-</a:t>
            </a:r>
          </a:p>
        </p:txBody>
      </p:sp>
      <p:sp>
        <p:nvSpPr>
          <p:cNvPr id="399" name="Ellips 398">
            <a:extLst>
              <a:ext uri="{FF2B5EF4-FFF2-40B4-BE49-F238E27FC236}">
                <a16:creationId xmlns:a16="http://schemas.microsoft.com/office/drawing/2014/main" id="{4ED3DC39-573E-EF95-3DF0-C002439AB912}"/>
              </a:ext>
            </a:extLst>
          </p:cNvPr>
          <p:cNvSpPr/>
          <p:nvPr/>
        </p:nvSpPr>
        <p:spPr>
          <a:xfrm>
            <a:off x="3092435" y="3092582"/>
            <a:ext cx="94500" cy="94500"/>
          </a:xfrm>
          <a:prstGeom prst="ellipse">
            <a:avLst/>
          </a:prstGeom>
          <a:solidFill>
            <a:srgbClr val="83E7AF"/>
          </a:solidFill>
          <a:ln w="1905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00">
                <a:cs typeface="Arial" panose="020B0604020202020204" pitchFamily="34" charset="0"/>
              </a:rPr>
              <a:t>+2</a:t>
            </a:r>
          </a:p>
        </p:txBody>
      </p:sp>
      <p:sp>
        <p:nvSpPr>
          <p:cNvPr id="430" name="Rektangel: rundade hörn 429">
            <a:extLst>
              <a:ext uri="{FF2B5EF4-FFF2-40B4-BE49-F238E27FC236}">
                <a16:creationId xmlns:a16="http://schemas.microsoft.com/office/drawing/2014/main" id="{CB06D534-89C0-B213-0404-48CEBB52C3DF}"/>
              </a:ext>
            </a:extLst>
          </p:cNvPr>
          <p:cNvSpPr/>
          <p:nvPr/>
        </p:nvSpPr>
        <p:spPr>
          <a:xfrm>
            <a:off x="2222666" y="3087059"/>
            <a:ext cx="303750" cy="108000"/>
          </a:xfrm>
          <a:prstGeom prst="roundRect">
            <a:avLst/>
          </a:prstGeom>
          <a:noFill/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450" b="1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61</a:t>
            </a:r>
          </a:p>
        </p:txBody>
      </p:sp>
      <p:sp>
        <p:nvSpPr>
          <p:cNvPr id="452" name="Rektangel: rundade hörn 451">
            <a:extLst>
              <a:ext uri="{FF2B5EF4-FFF2-40B4-BE49-F238E27FC236}">
                <a16:creationId xmlns:a16="http://schemas.microsoft.com/office/drawing/2014/main" id="{2C9B0758-0347-33C1-7DBD-F591AFC79542}"/>
              </a:ext>
            </a:extLst>
          </p:cNvPr>
          <p:cNvSpPr/>
          <p:nvPr/>
        </p:nvSpPr>
        <p:spPr>
          <a:xfrm>
            <a:off x="1452216" y="3087059"/>
            <a:ext cx="819497" cy="108000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21500" tIns="20250" rIns="10125" bIns="20250" rtlCol="0" anchor="ctr">
            <a:normAutofit lnSpcReduction="10000"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75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[Fokus] Fysisk arbetsmiljö 3</a:t>
            </a:r>
          </a:p>
        </p:txBody>
      </p:sp>
      <p:graphicFrame>
        <p:nvGraphicFramePr>
          <p:cNvPr id="340" name="Chart 5">
            <a:extLst>
              <a:ext uri="{FF2B5EF4-FFF2-40B4-BE49-F238E27FC236}">
                <a16:creationId xmlns:a16="http://schemas.microsoft.com/office/drawing/2014/main" id="{0728357B-919F-83C1-0758-A013538C78DD}"/>
              </a:ext>
            </a:extLst>
          </p:cNvPr>
          <p:cNvGraphicFramePr/>
          <p:nvPr/>
        </p:nvGraphicFramePr>
        <p:xfrm>
          <a:off x="3342660" y="3215436"/>
          <a:ext cx="3037500" cy="101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341" name="Frihandsfigur: Form 340">
            <a:extLst>
              <a:ext uri="{FF2B5EF4-FFF2-40B4-BE49-F238E27FC236}">
                <a16:creationId xmlns:a16="http://schemas.microsoft.com/office/drawing/2014/main" id="{72B0EB4D-E763-476F-2E9F-00D7890002E7}"/>
              </a:ext>
            </a:extLst>
          </p:cNvPr>
          <p:cNvSpPr/>
          <p:nvPr/>
        </p:nvSpPr>
        <p:spPr>
          <a:xfrm>
            <a:off x="3292035" y="3212259"/>
            <a:ext cx="3138750" cy="108000"/>
          </a:xfrm>
          <a:custGeom>
            <a:avLst/>
            <a:gdLst>
              <a:gd name="connsiteX0" fmla="*/ 171497 w 5580000"/>
              <a:gd name="connsiteY0" fmla="*/ 36000 h 612000"/>
              <a:gd name="connsiteX1" fmla="*/ 90000 w 5580000"/>
              <a:gd name="connsiteY1" fmla="*/ 117497 h 612000"/>
              <a:gd name="connsiteX2" fmla="*/ 90000 w 5580000"/>
              <a:gd name="connsiteY2" fmla="*/ 494503 h 612000"/>
              <a:gd name="connsiteX3" fmla="*/ 171497 w 5580000"/>
              <a:gd name="connsiteY3" fmla="*/ 576000 h 612000"/>
              <a:gd name="connsiteX4" fmla="*/ 5408503 w 5580000"/>
              <a:gd name="connsiteY4" fmla="*/ 576000 h 612000"/>
              <a:gd name="connsiteX5" fmla="*/ 5490000 w 5580000"/>
              <a:gd name="connsiteY5" fmla="*/ 494503 h 612000"/>
              <a:gd name="connsiteX6" fmla="*/ 5490000 w 5580000"/>
              <a:gd name="connsiteY6" fmla="*/ 117497 h 612000"/>
              <a:gd name="connsiteX7" fmla="*/ 5408503 w 5580000"/>
              <a:gd name="connsiteY7" fmla="*/ 36000 h 612000"/>
              <a:gd name="connsiteX8" fmla="*/ 92363 w 5580000"/>
              <a:gd name="connsiteY8" fmla="*/ 0 h 612000"/>
              <a:gd name="connsiteX9" fmla="*/ 5487637 w 5580000"/>
              <a:gd name="connsiteY9" fmla="*/ 0 h 612000"/>
              <a:gd name="connsiteX10" fmla="*/ 5580000 w 5580000"/>
              <a:gd name="connsiteY10" fmla="*/ 92363 h 612000"/>
              <a:gd name="connsiteX11" fmla="*/ 5580000 w 5580000"/>
              <a:gd name="connsiteY11" fmla="*/ 519637 h 612000"/>
              <a:gd name="connsiteX12" fmla="*/ 5487637 w 5580000"/>
              <a:gd name="connsiteY12" fmla="*/ 612000 h 612000"/>
              <a:gd name="connsiteX13" fmla="*/ 92363 w 5580000"/>
              <a:gd name="connsiteY13" fmla="*/ 612000 h 612000"/>
              <a:gd name="connsiteX14" fmla="*/ 0 w 5580000"/>
              <a:gd name="connsiteY14" fmla="*/ 519637 h 612000"/>
              <a:gd name="connsiteX15" fmla="*/ 0 w 5580000"/>
              <a:gd name="connsiteY15" fmla="*/ 92363 h 612000"/>
              <a:gd name="connsiteX16" fmla="*/ 92363 w 5580000"/>
              <a:gd name="connsiteY16" fmla="*/ 0 h 61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580000" h="612000">
                <a:moveTo>
                  <a:pt x="171497" y="36000"/>
                </a:moveTo>
                <a:cubicBezTo>
                  <a:pt x="126487" y="36000"/>
                  <a:pt x="90000" y="72487"/>
                  <a:pt x="90000" y="117497"/>
                </a:cubicBezTo>
                <a:lnTo>
                  <a:pt x="90000" y="494503"/>
                </a:lnTo>
                <a:cubicBezTo>
                  <a:pt x="90000" y="539513"/>
                  <a:pt x="126487" y="576000"/>
                  <a:pt x="171497" y="576000"/>
                </a:cubicBezTo>
                <a:lnTo>
                  <a:pt x="5408503" y="576000"/>
                </a:lnTo>
                <a:cubicBezTo>
                  <a:pt x="5453513" y="576000"/>
                  <a:pt x="5490000" y="539513"/>
                  <a:pt x="5490000" y="494503"/>
                </a:cubicBezTo>
                <a:lnTo>
                  <a:pt x="5490000" y="117497"/>
                </a:lnTo>
                <a:cubicBezTo>
                  <a:pt x="5490000" y="72487"/>
                  <a:pt x="5453513" y="36000"/>
                  <a:pt x="5408503" y="36000"/>
                </a:cubicBezTo>
                <a:close/>
                <a:moveTo>
                  <a:pt x="92363" y="0"/>
                </a:moveTo>
                <a:lnTo>
                  <a:pt x="5487637" y="0"/>
                </a:lnTo>
                <a:cubicBezTo>
                  <a:pt x="5538648" y="0"/>
                  <a:pt x="5580000" y="41352"/>
                  <a:pt x="5580000" y="92363"/>
                </a:cubicBezTo>
                <a:lnTo>
                  <a:pt x="5580000" y="519637"/>
                </a:lnTo>
                <a:cubicBezTo>
                  <a:pt x="5580000" y="570648"/>
                  <a:pt x="5538648" y="612000"/>
                  <a:pt x="5487637" y="612000"/>
                </a:cubicBezTo>
                <a:lnTo>
                  <a:pt x="92363" y="612000"/>
                </a:lnTo>
                <a:cubicBezTo>
                  <a:pt x="41352" y="612000"/>
                  <a:pt x="0" y="570648"/>
                  <a:pt x="0" y="519637"/>
                </a:cubicBezTo>
                <a:lnTo>
                  <a:pt x="0" y="92363"/>
                </a:lnTo>
                <a:cubicBezTo>
                  <a:pt x="0" y="41352"/>
                  <a:pt x="41352" y="0"/>
                  <a:pt x="92363" y="0"/>
                </a:cubicBezTo>
                <a:close/>
              </a:path>
            </a:pathLst>
          </a:custGeom>
          <a:solidFill>
            <a:srgbClr val="FFFFFF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1013">
              <a:solidFill>
                <a:prstClr val="white"/>
              </a:solidFill>
              <a:cs typeface="Arial"/>
            </a:endParaRPr>
          </a:p>
        </p:txBody>
      </p:sp>
      <p:sp>
        <p:nvSpPr>
          <p:cNvPr id="342" name="Rektangel: rundade hörn 341">
            <a:extLst>
              <a:ext uri="{FF2B5EF4-FFF2-40B4-BE49-F238E27FC236}">
                <a16:creationId xmlns:a16="http://schemas.microsoft.com/office/drawing/2014/main" id="{63976F29-DC1B-F796-F93A-20103D39B7D0}"/>
              </a:ext>
            </a:extLst>
          </p:cNvPr>
          <p:cNvSpPr/>
          <p:nvPr/>
        </p:nvSpPr>
        <p:spPr>
          <a:xfrm>
            <a:off x="3342660" y="3218613"/>
            <a:ext cx="3037500" cy="95294"/>
          </a:xfrm>
          <a:prstGeom prst="roundRect">
            <a:avLst>
              <a:gd name="adj" fmla="val 15092"/>
            </a:avLst>
          </a:prstGeom>
          <a:noFill/>
          <a:ln w="19050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1013">
              <a:solidFill>
                <a:prstClr val="white"/>
              </a:solidFill>
              <a:cs typeface="Arial"/>
            </a:endParaRPr>
          </a:p>
        </p:txBody>
      </p:sp>
      <p:sp>
        <p:nvSpPr>
          <p:cNvPr id="400" name="Ellips 399">
            <a:extLst>
              <a:ext uri="{FF2B5EF4-FFF2-40B4-BE49-F238E27FC236}">
                <a16:creationId xmlns:a16="http://schemas.microsoft.com/office/drawing/2014/main" id="{036BB8DE-402D-1703-F1FE-0B82A2D19490}"/>
              </a:ext>
            </a:extLst>
          </p:cNvPr>
          <p:cNvSpPr/>
          <p:nvPr/>
        </p:nvSpPr>
        <p:spPr>
          <a:xfrm>
            <a:off x="2701370" y="3217169"/>
            <a:ext cx="94500" cy="94500"/>
          </a:xfrm>
          <a:prstGeom prst="ellipse">
            <a:avLst/>
          </a:prstGeom>
          <a:solidFill>
            <a:srgbClr val="F2F2F2"/>
          </a:solidFill>
          <a:ln w="1905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00">
                <a:solidFill>
                  <a:srgbClr val="4E5758"/>
                </a:solidFill>
                <a:cs typeface="Arial" panose="020B0604020202020204" pitchFamily="34" charset="0"/>
              </a:rPr>
              <a:t>-</a:t>
            </a:r>
          </a:p>
        </p:txBody>
      </p:sp>
      <p:sp>
        <p:nvSpPr>
          <p:cNvPr id="401" name="Ellips 400">
            <a:extLst>
              <a:ext uri="{FF2B5EF4-FFF2-40B4-BE49-F238E27FC236}">
                <a16:creationId xmlns:a16="http://schemas.microsoft.com/office/drawing/2014/main" id="{BAC54EEF-2533-2435-1663-AE164C85925D}"/>
              </a:ext>
            </a:extLst>
          </p:cNvPr>
          <p:cNvSpPr/>
          <p:nvPr/>
        </p:nvSpPr>
        <p:spPr>
          <a:xfrm>
            <a:off x="3092435" y="3217169"/>
            <a:ext cx="94500" cy="94500"/>
          </a:xfrm>
          <a:prstGeom prst="ellipse">
            <a:avLst/>
          </a:prstGeom>
          <a:solidFill>
            <a:srgbClr val="83E7AF"/>
          </a:solidFill>
          <a:ln w="1905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00">
                <a:cs typeface="Arial" panose="020B0604020202020204" pitchFamily="34" charset="0"/>
              </a:rPr>
              <a:t>+2</a:t>
            </a:r>
          </a:p>
        </p:txBody>
      </p:sp>
      <p:sp>
        <p:nvSpPr>
          <p:cNvPr id="431" name="Rektangel: rundade hörn 430">
            <a:extLst>
              <a:ext uri="{FF2B5EF4-FFF2-40B4-BE49-F238E27FC236}">
                <a16:creationId xmlns:a16="http://schemas.microsoft.com/office/drawing/2014/main" id="{98D41414-E62E-1CD2-A986-8983EBDBCB59}"/>
              </a:ext>
            </a:extLst>
          </p:cNvPr>
          <p:cNvSpPr/>
          <p:nvPr/>
        </p:nvSpPr>
        <p:spPr>
          <a:xfrm>
            <a:off x="2222666" y="3212259"/>
            <a:ext cx="303750" cy="108000"/>
          </a:xfrm>
          <a:prstGeom prst="roundRect">
            <a:avLst/>
          </a:prstGeom>
          <a:noFill/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450" b="1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77</a:t>
            </a:r>
          </a:p>
        </p:txBody>
      </p:sp>
      <p:sp>
        <p:nvSpPr>
          <p:cNvPr id="453" name="Rektangel: rundade hörn 452">
            <a:extLst>
              <a:ext uri="{FF2B5EF4-FFF2-40B4-BE49-F238E27FC236}">
                <a16:creationId xmlns:a16="http://schemas.microsoft.com/office/drawing/2014/main" id="{B2B32AA7-A91A-4C6B-37CB-98409CB0B22E}"/>
              </a:ext>
            </a:extLst>
          </p:cNvPr>
          <p:cNvSpPr/>
          <p:nvPr/>
        </p:nvSpPr>
        <p:spPr>
          <a:xfrm>
            <a:off x="1452216" y="3212259"/>
            <a:ext cx="819497" cy="108000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21500" tIns="20250" rIns="10125" bIns="20250" rtlCol="0" anchor="ctr">
            <a:normAutofit lnSpcReduction="10000"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75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[Fokus] Fysisk arbetsmiljö 4</a:t>
            </a:r>
          </a:p>
        </p:txBody>
      </p:sp>
      <p:graphicFrame>
        <p:nvGraphicFramePr>
          <p:cNvPr id="343" name="Chart 5">
            <a:extLst>
              <a:ext uri="{FF2B5EF4-FFF2-40B4-BE49-F238E27FC236}">
                <a16:creationId xmlns:a16="http://schemas.microsoft.com/office/drawing/2014/main" id="{2497527E-38F8-B32D-0E48-7367525BD408}"/>
              </a:ext>
            </a:extLst>
          </p:cNvPr>
          <p:cNvGraphicFramePr/>
          <p:nvPr/>
        </p:nvGraphicFramePr>
        <p:xfrm>
          <a:off x="3342660" y="3340636"/>
          <a:ext cx="3037500" cy="101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344" name="Frihandsfigur: Form 343">
            <a:extLst>
              <a:ext uri="{FF2B5EF4-FFF2-40B4-BE49-F238E27FC236}">
                <a16:creationId xmlns:a16="http://schemas.microsoft.com/office/drawing/2014/main" id="{F4ED892D-FB1B-3C69-4705-F098B2FE4582}"/>
              </a:ext>
            </a:extLst>
          </p:cNvPr>
          <p:cNvSpPr/>
          <p:nvPr/>
        </p:nvSpPr>
        <p:spPr>
          <a:xfrm>
            <a:off x="3292035" y="3337460"/>
            <a:ext cx="3138750" cy="108000"/>
          </a:xfrm>
          <a:custGeom>
            <a:avLst/>
            <a:gdLst>
              <a:gd name="connsiteX0" fmla="*/ 171497 w 5580000"/>
              <a:gd name="connsiteY0" fmla="*/ 36000 h 612000"/>
              <a:gd name="connsiteX1" fmla="*/ 90000 w 5580000"/>
              <a:gd name="connsiteY1" fmla="*/ 117497 h 612000"/>
              <a:gd name="connsiteX2" fmla="*/ 90000 w 5580000"/>
              <a:gd name="connsiteY2" fmla="*/ 494503 h 612000"/>
              <a:gd name="connsiteX3" fmla="*/ 171497 w 5580000"/>
              <a:gd name="connsiteY3" fmla="*/ 576000 h 612000"/>
              <a:gd name="connsiteX4" fmla="*/ 5408503 w 5580000"/>
              <a:gd name="connsiteY4" fmla="*/ 576000 h 612000"/>
              <a:gd name="connsiteX5" fmla="*/ 5490000 w 5580000"/>
              <a:gd name="connsiteY5" fmla="*/ 494503 h 612000"/>
              <a:gd name="connsiteX6" fmla="*/ 5490000 w 5580000"/>
              <a:gd name="connsiteY6" fmla="*/ 117497 h 612000"/>
              <a:gd name="connsiteX7" fmla="*/ 5408503 w 5580000"/>
              <a:gd name="connsiteY7" fmla="*/ 36000 h 612000"/>
              <a:gd name="connsiteX8" fmla="*/ 92363 w 5580000"/>
              <a:gd name="connsiteY8" fmla="*/ 0 h 612000"/>
              <a:gd name="connsiteX9" fmla="*/ 5487637 w 5580000"/>
              <a:gd name="connsiteY9" fmla="*/ 0 h 612000"/>
              <a:gd name="connsiteX10" fmla="*/ 5580000 w 5580000"/>
              <a:gd name="connsiteY10" fmla="*/ 92363 h 612000"/>
              <a:gd name="connsiteX11" fmla="*/ 5580000 w 5580000"/>
              <a:gd name="connsiteY11" fmla="*/ 519637 h 612000"/>
              <a:gd name="connsiteX12" fmla="*/ 5487637 w 5580000"/>
              <a:gd name="connsiteY12" fmla="*/ 612000 h 612000"/>
              <a:gd name="connsiteX13" fmla="*/ 92363 w 5580000"/>
              <a:gd name="connsiteY13" fmla="*/ 612000 h 612000"/>
              <a:gd name="connsiteX14" fmla="*/ 0 w 5580000"/>
              <a:gd name="connsiteY14" fmla="*/ 519637 h 612000"/>
              <a:gd name="connsiteX15" fmla="*/ 0 w 5580000"/>
              <a:gd name="connsiteY15" fmla="*/ 92363 h 612000"/>
              <a:gd name="connsiteX16" fmla="*/ 92363 w 5580000"/>
              <a:gd name="connsiteY16" fmla="*/ 0 h 61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580000" h="612000">
                <a:moveTo>
                  <a:pt x="171497" y="36000"/>
                </a:moveTo>
                <a:cubicBezTo>
                  <a:pt x="126487" y="36000"/>
                  <a:pt x="90000" y="72487"/>
                  <a:pt x="90000" y="117497"/>
                </a:cubicBezTo>
                <a:lnTo>
                  <a:pt x="90000" y="494503"/>
                </a:lnTo>
                <a:cubicBezTo>
                  <a:pt x="90000" y="539513"/>
                  <a:pt x="126487" y="576000"/>
                  <a:pt x="171497" y="576000"/>
                </a:cubicBezTo>
                <a:lnTo>
                  <a:pt x="5408503" y="576000"/>
                </a:lnTo>
                <a:cubicBezTo>
                  <a:pt x="5453513" y="576000"/>
                  <a:pt x="5490000" y="539513"/>
                  <a:pt x="5490000" y="494503"/>
                </a:cubicBezTo>
                <a:lnTo>
                  <a:pt x="5490000" y="117497"/>
                </a:lnTo>
                <a:cubicBezTo>
                  <a:pt x="5490000" y="72487"/>
                  <a:pt x="5453513" y="36000"/>
                  <a:pt x="5408503" y="36000"/>
                </a:cubicBezTo>
                <a:close/>
                <a:moveTo>
                  <a:pt x="92363" y="0"/>
                </a:moveTo>
                <a:lnTo>
                  <a:pt x="5487637" y="0"/>
                </a:lnTo>
                <a:cubicBezTo>
                  <a:pt x="5538648" y="0"/>
                  <a:pt x="5580000" y="41352"/>
                  <a:pt x="5580000" y="92363"/>
                </a:cubicBezTo>
                <a:lnTo>
                  <a:pt x="5580000" y="519637"/>
                </a:lnTo>
                <a:cubicBezTo>
                  <a:pt x="5580000" y="570648"/>
                  <a:pt x="5538648" y="612000"/>
                  <a:pt x="5487637" y="612000"/>
                </a:cubicBezTo>
                <a:lnTo>
                  <a:pt x="92363" y="612000"/>
                </a:lnTo>
                <a:cubicBezTo>
                  <a:pt x="41352" y="612000"/>
                  <a:pt x="0" y="570648"/>
                  <a:pt x="0" y="519637"/>
                </a:cubicBezTo>
                <a:lnTo>
                  <a:pt x="0" y="92363"/>
                </a:lnTo>
                <a:cubicBezTo>
                  <a:pt x="0" y="41352"/>
                  <a:pt x="41352" y="0"/>
                  <a:pt x="92363" y="0"/>
                </a:cubicBezTo>
                <a:close/>
              </a:path>
            </a:pathLst>
          </a:custGeom>
          <a:solidFill>
            <a:srgbClr val="FFFFFF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1013">
              <a:solidFill>
                <a:prstClr val="white"/>
              </a:solidFill>
              <a:cs typeface="Arial"/>
            </a:endParaRPr>
          </a:p>
        </p:txBody>
      </p:sp>
      <p:sp>
        <p:nvSpPr>
          <p:cNvPr id="345" name="Rektangel: rundade hörn 344">
            <a:extLst>
              <a:ext uri="{FF2B5EF4-FFF2-40B4-BE49-F238E27FC236}">
                <a16:creationId xmlns:a16="http://schemas.microsoft.com/office/drawing/2014/main" id="{6E24B10F-4023-270A-07B7-94D235B9DE67}"/>
              </a:ext>
            </a:extLst>
          </p:cNvPr>
          <p:cNvSpPr/>
          <p:nvPr/>
        </p:nvSpPr>
        <p:spPr>
          <a:xfrm>
            <a:off x="3342660" y="3343813"/>
            <a:ext cx="3037500" cy="95294"/>
          </a:xfrm>
          <a:prstGeom prst="roundRect">
            <a:avLst>
              <a:gd name="adj" fmla="val 15092"/>
            </a:avLst>
          </a:prstGeom>
          <a:noFill/>
          <a:ln w="19050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1013">
              <a:solidFill>
                <a:prstClr val="white"/>
              </a:solidFill>
              <a:cs typeface="Arial"/>
            </a:endParaRPr>
          </a:p>
        </p:txBody>
      </p:sp>
      <p:sp>
        <p:nvSpPr>
          <p:cNvPr id="402" name="Ellips 401">
            <a:extLst>
              <a:ext uri="{FF2B5EF4-FFF2-40B4-BE49-F238E27FC236}">
                <a16:creationId xmlns:a16="http://schemas.microsoft.com/office/drawing/2014/main" id="{F16A5FF3-679D-8182-D497-39316F0EE6E9}"/>
              </a:ext>
            </a:extLst>
          </p:cNvPr>
          <p:cNvSpPr/>
          <p:nvPr/>
        </p:nvSpPr>
        <p:spPr>
          <a:xfrm>
            <a:off x="2701370" y="3341756"/>
            <a:ext cx="94500" cy="94500"/>
          </a:xfrm>
          <a:prstGeom prst="ellipse">
            <a:avLst/>
          </a:prstGeom>
          <a:solidFill>
            <a:srgbClr val="F2F2F2"/>
          </a:solidFill>
          <a:ln w="1905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00">
                <a:solidFill>
                  <a:srgbClr val="4E5758"/>
                </a:solidFill>
                <a:cs typeface="Arial" panose="020B0604020202020204" pitchFamily="34" charset="0"/>
              </a:rPr>
              <a:t>-</a:t>
            </a:r>
          </a:p>
        </p:txBody>
      </p:sp>
      <p:sp>
        <p:nvSpPr>
          <p:cNvPr id="403" name="Ellips 402">
            <a:extLst>
              <a:ext uri="{FF2B5EF4-FFF2-40B4-BE49-F238E27FC236}">
                <a16:creationId xmlns:a16="http://schemas.microsoft.com/office/drawing/2014/main" id="{D272E1F4-A34B-83DF-DF92-B6D0CE087709}"/>
              </a:ext>
            </a:extLst>
          </p:cNvPr>
          <p:cNvSpPr/>
          <p:nvPr/>
        </p:nvSpPr>
        <p:spPr>
          <a:xfrm>
            <a:off x="3092435" y="3341756"/>
            <a:ext cx="94500" cy="94500"/>
          </a:xfrm>
          <a:prstGeom prst="ellipse">
            <a:avLst/>
          </a:prstGeom>
          <a:solidFill>
            <a:srgbClr val="83E7AF"/>
          </a:solidFill>
          <a:ln w="1905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00">
                <a:cs typeface="Arial" panose="020B0604020202020204" pitchFamily="34" charset="0"/>
              </a:rPr>
              <a:t>+2</a:t>
            </a:r>
          </a:p>
        </p:txBody>
      </p:sp>
      <p:sp>
        <p:nvSpPr>
          <p:cNvPr id="432" name="Rektangel: rundade hörn 431">
            <a:extLst>
              <a:ext uri="{FF2B5EF4-FFF2-40B4-BE49-F238E27FC236}">
                <a16:creationId xmlns:a16="http://schemas.microsoft.com/office/drawing/2014/main" id="{F1703A8E-4162-3680-1A87-4D59A9197897}"/>
              </a:ext>
            </a:extLst>
          </p:cNvPr>
          <p:cNvSpPr/>
          <p:nvPr/>
        </p:nvSpPr>
        <p:spPr>
          <a:xfrm>
            <a:off x="2222666" y="3337460"/>
            <a:ext cx="303750" cy="108000"/>
          </a:xfrm>
          <a:prstGeom prst="roundRect">
            <a:avLst/>
          </a:prstGeom>
          <a:noFill/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450" b="1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76</a:t>
            </a:r>
          </a:p>
        </p:txBody>
      </p:sp>
      <p:sp>
        <p:nvSpPr>
          <p:cNvPr id="454" name="Rektangel: rundade hörn 453">
            <a:extLst>
              <a:ext uri="{FF2B5EF4-FFF2-40B4-BE49-F238E27FC236}">
                <a16:creationId xmlns:a16="http://schemas.microsoft.com/office/drawing/2014/main" id="{CFC3801E-C5AB-79FE-2A94-BF845E694AB0}"/>
              </a:ext>
            </a:extLst>
          </p:cNvPr>
          <p:cNvSpPr/>
          <p:nvPr/>
        </p:nvSpPr>
        <p:spPr>
          <a:xfrm>
            <a:off x="1452216" y="3337460"/>
            <a:ext cx="819497" cy="108000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21500" tIns="20250" rIns="10125" bIns="20250" rtlCol="0" anchor="ctr">
            <a:normAutofit lnSpcReduction="10000"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75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[Fokus] Fysisk arbetsmiljö 5</a:t>
            </a:r>
          </a:p>
        </p:txBody>
      </p:sp>
      <p:graphicFrame>
        <p:nvGraphicFramePr>
          <p:cNvPr id="346" name="Chart 5">
            <a:extLst>
              <a:ext uri="{FF2B5EF4-FFF2-40B4-BE49-F238E27FC236}">
                <a16:creationId xmlns:a16="http://schemas.microsoft.com/office/drawing/2014/main" id="{ABEC4643-2766-3FAB-C35C-3BAD3FDF03D1}"/>
              </a:ext>
            </a:extLst>
          </p:cNvPr>
          <p:cNvGraphicFramePr/>
          <p:nvPr/>
        </p:nvGraphicFramePr>
        <p:xfrm>
          <a:off x="3342660" y="3465837"/>
          <a:ext cx="3037500" cy="101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347" name="Frihandsfigur: Form 346">
            <a:extLst>
              <a:ext uri="{FF2B5EF4-FFF2-40B4-BE49-F238E27FC236}">
                <a16:creationId xmlns:a16="http://schemas.microsoft.com/office/drawing/2014/main" id="{082B7507-7086-E8A7-F16A-271EADB34D28}"/>
              </a:ext>
            </a:extLst>
          </p:cNvPr>
          <p:cNvSpPr/>
          <p:nvPr/>
        </p:nvSpPr>
        <p:spPr>
          <a:xfrm>
            <a:off x="3292035" y="3462660"/>
            <a:ext cx="3138750" cy="108000"/>
          </a:xfrm>
          <a:custGeom>
            <a:avLst/>
            <a:gdLst>
              <a:gd name="connsiteX0" fmla="*/ 171497 w 5580000"/>
              <a:gd name="connsiteY0" fmla="*/ 36000 h 612000"/>
              <a:gd name="connsiteX1" fmla="*/ 90000 w 5580000"/>
              <a:gd name="connsiteY1" fmla="*/ 117497 h 612000"/>
              <a:gd name="connsiteX2" fmla="*/ 90000 w 5580000"/>
              <a:gd name="connsiteY2" fmla="*/ 494503 h 612000"/>
              <a:gd name="connsiteX3" fmla="*/ 171497 w 5580000"/>
              <a:gd name="connsiteY3" fmla="*/ 576000 h 612000"/>
              <a:gd name="connsiteX4" fmla="*/ 5408503 w 5580000"/>
              <a:gd name="connsiteY4" fmla="*/ 576000 h 612000"/>
              <a:gd name="connsiteX5" fmla="*/ 5490000 w 5580000"/>
              <a:gd name="connsiteY5" fmla="*/ 494503 h 612000"/>
              <a:gd name="connsiteX6" fmla="*/ 5490000 w 5580000"/>
              <a:gd name="connsiteY6" fmla="*/ 117497 h 612000"/>
              <a:gd name="connsiteX7" fmla="*/ 5408503 w 5580000"/>
              <a:gd name="connsiteY7" fmla="*/ 36000 h 612000"/>
              <a:gd name="connsiteX8" fmla="*/ 92363 w 5580000"/>
              <a:gd name="connsiteY8" fmla="*/ 0 h 612000"/>
              <a:gd name="connsiteX9" fmla="*/ 5487637 w 5580000"/>
              <a:gd name="connsiteY9" fmla="*/ 0 h 612000"/>
              <a:gd name="connsiteX10" fmla="*/ 5580000 w 5580000"/>
              <a:gd name="connsiteY10" fmla="*/ 92363 h 612000"/>
              <a:gd name="connsiteX11" fmla="*/ 5580000 w 5580000"/>
              <a:gd name="connsiteY11" fmla="*/ 519637 h 612000"/>
              <a:gd name="connsiteX12" fmla="*/ 5487637 w 5580000"/>
              <a:gd name="connsiteY12" fmla="*/ 612000 h 612000"/>
              <a:gd name="connsiteX13" fmla="*/ 92363 w 5580000"/>
              <a:gd name="connsiteY13" fmla="*/ 612000 h 612000"/>
              <a:gd name="connsiteX14" fmla="*/ 0 w 5580000"/>
              <a:gd name="connsiteY14" fmla="*/ 519637 h 612000"/>
              <a:gd name="connsiteX15" fmla="*/ 0 w 5580000"/>
              <a:gd name="connsiteY15" fmla="*/ 92363 h 612000"/>
              <a:gd name="connsiteX16" fmla="*/ 92363 w 5580000"/>
              <a:gd name="connsiteY16" fmla="*/ 0 h 61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580000" h="612000">
                <a:moveTo>
                  <a:pt x="171497" y="36000"/>
                </a:moveTo>
                <a:cubicBezTo>
                  <a:pt x="126487" y="36000"/>
                  <a:pt x="90000" y="72487"/>
                  <a:pt x="90000" y="117497"/>
                </a:cubicBezTo>
                <a:lnTo>
                  <a:pt x="90000" y="494503"/>
                </a:lnTo>
                <a:cubicBezTo>
                  <a:pt x="90000" y="539513"/>
                  <a:pt x="126487" y="576000"/>
                  <a:pt x="171497" y="576000"/>
                </a:cubicBezTo>
                <a:lnTo>
                  <a:pt x="5408503" y="576000"/>
                </a:lnTo>
                <a:cubicBezTo>
                  <a:pt x="5453513" y="576000"/>
                  <a:pt x="5490000" y="539513"/>
                  <a:pt x="5490000" y="494503"/>
                </a:cubicBezTo>
                <a:lnTo>
                  <a:pt x="5490000" y="117497"/>
                </a:lnTo>
                <a:cubicBezTo>
                  <a:pt x="5490000" y="72487"/>
                  <a:pt x="5453513" y="36000"/>
                  <a:pt x="5408503" y="36000"/>
                </a:cubicBezTo>
                <a:close/>
                <a:moveTo>
                  <a:pt x="92363" y="0"/>
                </a:moveTo>
                <a:lnTo>
                  <a:pt x="5487637" y="0"/>
                </a:lnTo>
                <a:cubicBezTo>
                  <a:pt x="5538648" y="0"/>
                  <a:pt x="5580000" y="41352"/>
                  <a:pt x="5580000" y="92363"/>
                </a:cubicBezTo>
                <a:lnTo>
                  <a:pt x="5580000" y="519637"/>
                </a:lnTo>
                <a:cubicBezTo>
                  <a:pt x="5580000" y="570648"/>
                  <a:pt x="5538648" y="612000"/>
                  <a:pt x="5487637" y="612000"/>
                </a:cubicBezTo>
                <a:lnTo>
                  <a:pt x="92363" y="612000"/>
                </a:lnTo>
                <a:cubicBezTo>
                  <a:pt x="41352" y="612000"/>
                  <a:pt x="0" y="570648"/>
                  <a:pt x="0" y="519637"/>
                </a:cubicBezTo>
                <a:lnTo>
                  <a:pt x="0" y="92363"/>
                </a:lnTo>
                <a:cubicBezTo>
                  <a:pt x="0" y="41352"/>
                  <a:pt x="41352" y="0"/>
                  <a:pt x="92363" y="0"/>
                </a:cubicBezTo>
                <a:close/>
              </a:path>
            </a:pathLst>
          </a:custGeom>
          <a:solidFill>
            <a:srgbClr val="FFFFFF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1013">
              <a:solidFill>
                <a:prstClr val="white"/>
              </a:solidFill>
              <a:cs typeface="Arial"/>
            </a:endParaRPr>
          </a:p>
        </p:txBody>
      </p:sp>
      <p:sp>
        <p:nvSpPr>
          <p:cNvPr id="348" name="Rektangel: rundade hörn 347">
            <a:extLst>
              <a:ext uri="{FF2B5EF4-FFF2-40B4-BE49-F238E27FC236}">
                <a16:creationId xmlns:a16="http://schemas.microsoft.com/office/drawing/2014/main" id="{8866AC6E-05EA-46F4-D6F0-9A4CF3D002C6}"/>
              </a:ext>
            </a:extLst>
          </p:cNvPr>
          <p:cNvSpPr/>
          <p:nvPr/>
        </p:nvSpPr>
        <p:spPr>
          <a:xfrm>
            <a:off x="3342660" y="3469014"/>
            <a:ext cx="3037500" cy="95294"/>
          </a:xfrm>
          <a:prstGeom prst="roundRect">
            <a:avLst>
              <a:gd name="adj" fmla="val 15092"/>
            </a:avLst>
          </a:prstGeom>
          <a:noFill/>
          <a:ln w="19050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1013">
              <a:solidFill>
                <a:prstClr val="white"/>
              </a:solidFill>
              <a:cs typeface="Arial"/>
            </a:endParaRPr>
          </a:p>
        </p:txBody>
      </p:sp>
      <p:sp>
        <p:nvSpPr>
          <p:cNvPr id="404" name="Ellips 403">
            <a:extLst>
              <a:ext uri="{FF2B5EF4-FFF2-40B4-BE49-F238E27FC236}">
                <a16:creationId xmlns:a16="http://schemas.microsoft.com/office/drawing/2014/main" id="{A8D5330F-411F-695B-D8DA-104A678B2A44}"/>
              </a:ext>
            </a:extLst>
          </p:cNvPr>
          <p:cNvSpPr/>
          <p:nvPr/>
        </p:nvSpPr>
        <p:spPr>
          <a:xfrm>
            <a:off x="2701370" y="3466343"/>
            <a:ext cx="94500" cy="94500"/>
          </a:xfrm>
          <a:prstGeom prst="ellipse">
            <a:avLst/>
          </a:prstGeom>
          <a:solidFill>
            <a:srgbClr val="F2F2F2"/>
          </a:solidFill>
          <a:ln w="1905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00">
                <a:solidFill>
                  <a:srgbClr val="4E5758"/>
                </a:solidFill>
                <a:cs typeface="Arial" panose="020B0604020202020204" pitchFamily="34" charset="0"/>
              </a:rPr>
              <a:t>-</a:t>
            </a:r>
          </a:p>
        </p:txBody>
      </p:sp>
      <p:sp>
        <p:nvSpPr>
          <p:cNvPr id="405" name="Ellips 404">
            <a:extLst>
              <a:ext uri="{FF2B5EF4-FFF2-40B4-BE49-F238E27FC236}">
                <a16:creationId xmlns:a16="http://schemas.microsoft.com/office/drawing/2014/main" id="{03AB1CFF-5265-9573-C8F6-158D9956EFED}"/>
              </a:ext>
            </a:extLst>
          </p:cNvPr>
          <p:cNvSpPr/>
          <p:nvPr/>
        </p:nvSpPr>
        <p:spPr>
          <a:xfrm>
            <a:off x="3092435" y="3466343"/>
            <a:ext cx="94500" cy="94500"/>
          </a:xfrm>
          <a:prstGeom prst="ellipse">
            <a:avLst/>
          </a:prstGeom>
          <a:solidFill>
            <a:srgbClr val="FE9D93"/>
          </a:solidFill>
          <a:ln w="1905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00">
                <a:cs typeface="Arial" panose="020B0604020202020204" pitchFamily="34" charset="0"/>
              </a:rPr>
              <a:t>-1</a:t>
            </a:r>
          </a:p>
        </p:txBody>
      </p:sp>
      <p:sp>
        <p:nvSpPr>
          <p:cNvPr id="433" name="Rektangel: rundade hörn 432">
            <a:extLst>
              <a:ext uri="{FF2B5EF4-FFF2-40B4-BE49-F238E27FC236}">
                <a16:creationId xmlns:a16="http://schemas.microsoft.com/office/drawing/2014/main" id="{C78336F4-BF07-E468-5F22-26C30423B8BE}"/>
              </a:ext>
            </a:extLst>
          </p:cNvPr>
          <p:cNvSpPr/>
          <p:nvPr/>
        </p:nvSpPr>
        <p:spPr>
          <a:xfrm>
            <a:off x="2222666" y="3462660"/>
            <a:ext cx="303750" cy="108000"/>
          </a:xfrm>
          <a:prstGeom prst="roundRect">
            <a:avLst/>
          </a:prstGeom>
          <a:noFill/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450" b="1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67</a:t>
            </a:r>
          </a:p>
        </p:txBody>
      </p:sp>
      <p:sp>
        <p:nvSpPr>
          <p:cNvPr id="455" name="Rektangel: rundade hörn 454">
            <a:extLst>
              <a:ext uri="{FF2B5EF4-FFF2-40B4-BE49-F238E27FC236}">
                <a16:creationId xmlns:a16="http://schemas.microsoft.com/office/drawing/2014/main" id="{20658960-48B5-A1E0-95E2-66D4D5F8E61C}"/>
              </a:ext>
            </a:extLst>
          </p:cNvPr>
          <p:cNvSpPr/>
          <p:nvPr/>
        </p:nvSpPr>
        <p:spPr>
          <a:xfrm>
            <a:off x="1452216" y="3462660"/>
            <a:ext cx="819497" cy="108000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21500" tIns="20250" rIns="10125" bIns="20250" rtlCol="0" anchor="ctr">
            <a:normAutofit lnSpcReduction="10000"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75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[Fokus] Fysisk arbetsmiljö 6</a:t>
            </a:r>
          </a:p>
        </p:txBody>
      </p:sp>
      <p:graphicFrame>
        <p:nvGraphicFramePr>
          <p:cNvPr id="349" name="Chart 5">
            <a:extLst>
              <a:ext uri="{FF2B5EF4-FFF2-40B4-BE49-F238E27FC236}">
                <a16:creationId xmlns:a16="http://schemas.microsoft.com/office/drawing/2014/main" id="{7A18A189-737D-5A02-5908-D99A00E73C56}"/>
              </a:ext>
            </a:extLst>
          </p:cNvPr>
          <p:cNvGraphicFramePr/>
          <p:nvPr/>
        </p:nvGraphicFramePr>
        <p:xfrm>
          <a:off x="3342660" y="3591037"/>
          <a:ext cx="3037500" cy="101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350" name="Frihandsfigur: Form 349">
            <a:extLst>
              <a:ext uri="{FF2B5EF4-FFF2-40B4-BE49-F238E27FC236}">
                <a16:creationId xmlns:a16="http://schemas.microsoft.com/office/drawing/2014/main" id="{8F00B396-2613-6B5E-D6C7-F52C54838EFB}"/>
              </a:ext>
            </a:extLst>
          </p:cNvPr>
          <p:cNvSpPr/>
          <p:nvPr/>
        </p:nvSpPr>
        <p:spPr>
          <a:xfrm>
            <a:off x="3292035" y="3587861"/>
            <a:ext cx="3138750" cy="108000"/>
          </a:xfrm>
          <a:custGeom>
            <a:avLst/>
            <a:gdLst>
              <a:gd name="connsiteX0" fmla="*/ 171497 w 5580000"/>
              <a:gd name="connsiteY0" fmla="*/ 36000 h 612000"/>
              <a:gd name="connsiteX1" fmla="*/ 90000 w 5580000"/>
              <a:gd name="connsiteY1" fmla="*/ 117497 h 612000"/>
              <a:gd name="connsiteX2" fmla="*/ 90000 w 5580000"/>
              <a:gd name="connsiteY2" fmla="*/ 494503 h 612000"/>
              <a:gd name="connsiteX3" fmla="*/ 171497 w 5580000"/>
              <a:gd name="connsiteY3" fmla="*/ 576000 h 612000"/>
              <a:gd name="connsiteX4" fmla="*/ 5408503 w 5580000"/>
              <a:gd name="connsiteY4" fmla="*/ 576000 h 612000"/>
              <a:gd name="connsiteX5" fmla="*/ 5490000 w 5580000"/>
              <a:gd name="connsiteY5" fmla="*/ 494503 h 612000"/>
              <a:gd name="connsiteX6" fmla="*/ 5490000 w 5580000"/>
              <a:gd name="connsiteY6" fmla="*/ 117497 h 612000"/>
              <a:gd name="connsiteX7" fmla="*/ 5408503 w 5580000"/>
              <a:gd name="connsiteY7" fmla="*/ 36000 h 612000"/>
              <a:gd name="connsiteX8" fmla="*/ 92363 w 5580000"/>
              <a:gd name="connsiteY8" fmla="*/ 0 h 612000"/>
              <a:gd name="connsiteX9" fmla="*/ 5487637 w 5580000"/>
              <a:gd name="connsiteY9" fmla="*/ 0 h 612000"/>
              <a:gd name="connsiteX10" fmla="*/ 5580000 w 5580000"/>
              <a:gd name="connsiteY10" fmla="*/ 92363 h 612000"/>
              <a:gd name="connsiteX11" fmla="*/ 5580000 w 5580000"/>
              <a:gd name="connsiteY11" fmla="*/ 519637 h 612000"/>
              <a:gd name="connsiteX12" fmla="*/ 5487637 w 5580000"/>
              <a:gd name="connsiteY12" fmla="*/ 612000 h 612000"/>
              <a:gd name="connsiteX13" fmla="*/ 92363 w 5580000"/>
              <a:gd name="connsiteY13" fmla="*/ 612000 h 612000"/>
              <a:gd name="connsiteX14" fmla="*/ 0 w 5580000"/>
              <a:gd name="connsiteY14" fmla="*/ 519637 h 612000"/>
              <a:gd name="connsiteX15" fmla="*/ 0 w 5580000"/>
              <a:gd name="connsiteY15" fmla="*/ 92363 h 612000"/>
              <a:gd name="connsiteX16" fmla="*/ 92363 w 5580000"/>
              <a:gd name="connsiteY16" fmla="*/ 0 h 61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580000" h="612000">
                <a:moveTo>
                  <a:pt x="171497" y="36000"/>
                </a:moveTo>
                <a:cubicBezTo>
                  <a:pt x="126487" y="36000"/>
                  <a:pt x="90000" y="72487"/>
                  <a:pt x="90000" y="117497"/>
                </a:cubicBezTo>
                <a:lnTo>
                  <a:pt x="90000" y="494503"/>
                </a:lnTo>
                <a:cubicBezTo>
                  <a:pt x="90000" y="539513"/>
                  <a:pt x="126487" y="576000"/>
                  <a:pt x="171497" y="576000"/>
                </a:cubicBezTo>
                <a:lnTo>
                  <a:pt x="5408503" y="576000"/>
                </a:lnTo>
                <a:cubicBezTo>
                  <a:pt x="5453513" y="576000"/>
                  <a:pt x="5490000" y="539513"/>
                  <a:pt x="5490000" y="494503"/>
                </a:cubicBezTo>
                <a:lnTo>
                  <a:pt x="5490000" y="117497"/>
                </a:lnTo>
                <a:cubicBezTo>
                  <a:pt x="5490000" y="72487"/>
                  <a:pt x="5453513" y="36000"/>
                  <a:pt x="5408503" y="36000"/>
                </a:cubicBezTo>
                <a:close/>
                <a:moveTo>
                  <a:pt x="92363" y="0"/>
                </a:moveTo>
                <a:lnTo>
                  <a:pt x="5487637" y="0"/>
                </a:lnTo>
                <a:cubicBezTo>
                  <a:pt x="5538648" y="0"/>
                  <a:pt x="5580000" y="41352"/>
                  <a:pt x="5580000" y="92363"/>
                </a:cubicBezTo>
                <a:lnTo>
                  <a:pt x="5580000" y="519637"/>
                </a:lnTo>
                <a:cubicBezTo>
                  <a:pt x="5580000" y="570648"/>
                  <a:pt x="5538648" y="612000"/>
                  <a:pt x="5487637" y="612000"/>
                </a:cubicBezTo>
                <a:lnTo>
                  <a:pt x="92363" y="612000"/>
                </a:lnTo>
                <a:cubicBezTo>
                  <a:pt x="41352" y="612000"/>
                  <a:pt x="0" y="570648"/>
                  <a:pt x="0" y="519637"/>
                </a:cubicBezTo>
                <a:lnTo>
                  <a:pt x="0" y="92363"/>
                </a:lnTo>
                <a:cubicBezTo>
                  <a:pt x="0" y="41352"/>
                  <a:pt x="41352" y="0"/>
                  <a:pt x="92363" y="0"/>
                </a:cubicBezTo>
                <a:close/>
              </a:path>
            </a:pathLst>
          </a:custGeom>
          <a:solidFill>
            <a:srgbClr val="FFFFFF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1013">
              <a:solidFill>
                <a:prstClr val="white"/>
              </a:solidFill>
              <a:cs typeface="Arial"/>
            </a:endParaRPr>
          </a:p>
        </p:txBody>
      </p:sp>
      <p:sp>
        <p:nvSpPr>
          <p:cNvPr id="351" name="Rektangel: rundade hörn 350">
            <a:extLst>
              <a:ext uri="{FF2B5EF4-FFF2-40B4-BE49-F238E27FC236}">
                <a16:creationId xmlns:a16="http://schemas.microsoft.com/office/drawing/2014/main" id="{19487E8D-9721-4E04-717F-68DD84E35C9F}"/>
              </a:ext>
            </a:extLst>
          </p:cNvPr>
          <p:cNvSpPr/>
          <p:nvPr/>
        </p:nvSpPr>
        <p:spPr>
          <a:xfrm>
            <a:off x="3342660" y="3594214"/>
            <a:ext cx="3037500" cy="95294"/>
          </a:xfrm>
          <a:prstGeom prst="roundRect">
            <a:avLst>
              <a:gd name="adj" fmla="val 15092"/>
            </a:avLst>
          </a:prstGeom>
          <a:noFill/>
          <a:ln w="19050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1013">
              <a:solidFill>
                <a:prstClr val="white"/>
              </a:solidFill>
              <a:cs typeface="Arial"/>
            </a:endParaRPr>
          </a:p>
        </p:txBody>
      </p:sp>
      <p:sp>
        <p:nvSpPr>
          <p:cNvPr id="406" name="Ellips 405">
            <a:extLst>
              <a:ext uri="{FF2B5EF4-FFF2-40B4-BE49-F238E27FC236}">
                <a16:creationId xmlns:a16="http://schemas.microsoft.com/office/drawing/2014/main" id="{C5E470E0-D0BE-C6BC-EAB9-F2F27F3198E2}"/>
              </a:ext>
            </a:extLst>
          </p:cNvPr>
          <p:cNvSpPr/>
          <p:nvPr/>
        </p:nvSpPr>
        <p:spPr>
          <a:xfrm>
            <a:off x="2701370" y="3590930"/>
            <a:ext cx="94500" cy="94500"/>
          </a:xfrm>
          <a:prstGeom prst="ellipse">
            <a:avLst/>
          </a:prstGeom>
          <a:solidFill>
            <a:srgbClr val="F2F2F2"/>
          </a:solidFill>
          <a:ln w="1905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00">
                <a:solidFill>
                  <a:srgbClr val="4E5758"/>
                </a:solidFill>
                <a:cs typeface="Arial" panose="020B0604020202020204" pitchFamily="34" charset="0"/>
              </a:rPr>
              <a:t>-</a:t>
            </a:r>
          </a:p>
        </p:txBody>
      </p:sp>
      <p:sp>
        <p:nvSpPr>
          <p:cNvPr id="407" name="Ellips 406">
            <a:extLst>
              <a:ext uri="{FF2B5EF4-FFF2-40B4-BE49-F238E27FC236}">
                <a16:creationId xmlns:a16="http://schemas.microsoft.com/office/drawing/2014/main" id="{F32A8A97-E549-19BA-5F72-1D57D602D126}"/>
              </a:ext>
            </a:extLst>
          </p:cNvPr>
          <p:cNvSpPr/>
          <p:nvPr/>
        </p:nvSpPr>
        <p:spPr>
          <a:xfrm>
            <a:off x="3092435" y="3590930"/>
            <a:ext cx="94500" cy="94500"/>
          </a:xfrm>
          <a:prstGeom prst="ellipse">
            <a:avLst/>
          </a:prstGeom>
          <a:solidFill>
            <a:srgbClr val="FE9D93"/>
          </a:solidFill>
          <a:ln w="1905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00">
                <a:cs typeface="Arial" panose="020B0604020202020204" pitchFamily="34" charset="0"/>
              </a:rPr>
              <a:t>-7</a:t>
            </a:r>
          </a:p>
        </p:txBody>
      </p:sp>
      <p:sp>
        <p:nvSpPr>
          <p:cNvPr id="434" name="Rektangel: rundade hörn 433">
            <a:extLst>
              <a:ext uri="{FF2B5EF4-FFF2-40B4-BE49-F238E27FC236}">
                <a16:creationId xmlns:a16="http://schemas.microsoft.com/office/drawing/2014/main" id="{DE042F28-7B09-8674-3740-7E4BC934CDCC}"/>
              </a:ext>
            </a:extLst>
          </p:cNvPr>
          <p:cNvSpPr/>
          <p:nvPr/>
        </p:nvSpPr>
        <p:spPr>
          <a:xfrm>
            <a:off x="2222666" y="3587861"/>
            <a:ext cx="303750" cy="108000"/>
          </a:xfrm>
          <a:prstGeom prst="roundRect">
            <a:avLst/>
          </a:prstGeom>
          <a:noFill/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450" b="1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71</a:t>
            </a:r>
          </a:p>
        </p:txBody>
      </p:sp>
      <p:sp>
        <p:nvSpPr>
          <p:cNvPr id="456" name="Rektangel: rundade hörn 455">
            <a:extLst>
              <a:ext uri="{FF2B5EF4-FFF2-40B4-BE49-F238E27FC236}">
                <a16:creationId xmlns:a16="http://schemas.microsoft.com/office/drawing/2014/main" id="{697F7B6B-6692-077B-756D-A107C70F0CBD}"/>
              </a:ext>
            </a:extLst>
          </p:cNvPr>
          <p:cNvSpPr/>
          <p:nvPr/>
        </p:nvSpPr>
        <p:spPr>
          <a:xfrm>
            <a:off x="1452216" y="3587861"/>
            <a:ext cx="819497" cy="108000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21500" tIns="20250" rIns="10125" bIns="20250" rtlCol="0" anchor="ctr">
            <a:normAutofit lnSpcReduction="10000"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75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[Fokus] Fysisk arbetsmiljö 7</a:t>
            </a:r>
          </a:p>
        </p:txBody>
      </p:sp>
      <p:graphicFrame>
        <p:nvGraphicFramePr>
          <p:cNvPr id="352" name="Chart 5">
            <a:extLst>
              <a:ext uri="{FF2B5EF4-FFF2-40B4-BE49-F238E27FC236}">
                <a16:creationId xmlns:a16="http://schemas.microsoft.com/office/drawing/2014/main" id="{F924746C-BD95-F49B-E460-85031E04E5C7}"/>
              </a:ext>
            </a:extLst>
          </p:cNvPr>
          <p:cNvGraphicFramePr/>
          <p:nvPr/>
        </p:nvGraphicFramePr>
        <p:xfrm>
          <a:off x="3342660" y="3716238"/>
          <a:ext cx="3037500" cy="101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353" name="Frihandsfigur: Form 352">
            <a:extLst>
              <a:ext uri="{FF2B5EF4-FFF2-40B4-BE49-F238E27FC236}">
                <a16:creationId xmlns:a16="http://schemas.microsoft.com/office/drawing/2014/main" id="{BF0E1793-F630-063C-3CE6-CC3FAC9F7AAD}"/>
              </a:ext>
            </a:extLst>
          </p:cNvPr>
          <p:cNvSpPr/>
          <p:nvPr/>
        </p:nvSpPr>
        <p:spPr>
          <a:xfrm>
            <a:off x="3292035" y="3713061"/>
            <a:ext cx="3138750" cy="108000"/>
          </a:xfrm>
          <a:custGeom>
            <a:avLst/>
            <a:gdLst>
              <a:gd name="connsiteX0" fmla="*/ 171497 w 5580000"/>
              <a:gd name="connsiteY0" fmla="*/ 36000 h 612000"/>
              <a:gd name="connsiteX1" fmla="*/ 90000 w 5580000"/>
              <a:gd name="connsiteY1" fmla="*/ 117497 h 612000"/>
              <a:gd name="connsiteX2" fmla="*/ 90000 w 5580000"/>
              <a:gd name="connsiteY2" fmla="*/ 494503 h 612000"/>
              <a:gd name="connsiteX3" fmla="*/ 171497 w 5580000"/>
              <a:gd name="connsiteY3" fmla="*/ 576000 h 612000"/>
              <a:gd name="connsiteX4" fmla="*/ 5408503 w 5580000"/>
              <a:gd name="connsiteY4" fmla="*/ 576000 h 612000"/>
              <a:gd name="connsiteX5" fmla="*/ 5490000 w 5580000"/>
              <a:gd name="connsiteY5" fmla="*/ 494503 h 612000"/>
              <a:gd name="connsiteX6" fmla="*/ 5490000 w 5580000"/>
              <a:gd name="connsiteY6" fmla="*/ 117497 h 612000"/>
              <a:gd name="connsiteX7" fmla="*/ 5408503 w 5580000"/>
              <a:gd name="connsiteY7" fmla="*/ 36000 h 612000"/>
              <a:gd name="connsiteX8" fmla="*/ 92363 w 5580000"/>
              <a:gd name="connsiteY8" fmla="*/ 0 h 612000"/>
              <a:gd name="connsiteX9" fmla="*/ 5487637 w 5580000"/>
              <a:gd name="connsiteY9" fmla="*/ 0 h 612000"/>
              <a:gd name="connsiteX10" fmla="*/ 5580000 w 5580000"/>
              <a:gd name="connsiteY10" fmla="*/ 92363 h 612000"/>
              <a:gd name="connsiteX11" fmla="*/ 5580000 w 5580000"/>
              <a:gd name="connsiteY11" fmla="*/ 519637 h 612000"/>
              <a:gd name="connsiteX12" fmla="*/ 5487637 w 5580000"/>
              <a:gd name="connsiteY12" fmla="*/ 612000 h 612000"/>
              <a:gd name="connsiteX13" fmla="*/ 92363 w 5580000"/>
              <a:gd name="connsiteY13" fmla="*/ 612000 h 612000"/>
              <a:gd name="connsiteX14" fmla="*/ 0 w 5580000"/>
              <a:gd name="connsiteY14" fmla="*/ 519637 h 612000"/>
              <a:gd name="connsiteX15" fmla="*/ 0 w 5580000"/>
              <a:gd name="connsiteY15" fmla="*/ 92363 h 612000"/>
              <a:gd name="connsiteX16" fmla="*/ 92363 w 5580000"/>
              <a:gd name="connsiteY16" fmla="*/ 0 h 61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580000" h="612000">
                <a:moveTo>
                  <a:pt x="171497" y="36000"/>
                </a:moveTo>
                <a:cubicBezTo>
                  <a:pt x="126487" y="36000"/>
                  <a:pt x="90000" y="72487"/>
                  <a:pt x="90000" y="117497"/>
                </a:cubicBezTo>
                <a:lnTo>
                  <a:pt x="90000" y="494503"/>
                </a:lnTo>
                <a:cubicBezTo>
                  <a:pt x="90000" y="539513"/>
                  <a:pt x="126487" y="576000"/>
                  <a:pt x="171497" y="576000"/>
                </a:cubicBezTo>
                <a:lnTo>
                  <a:pt x="5408503" y="576000"/>
                </a:lnTo>
                <a:cubicBezTo>
                  <a:pt x="5453513" y="576000"/>
                  <a:pt x="5490000" y="539513"/>
                  <a:pt x="5490000" y="494503"/>
                </a:cubicBezTo>
                <a:lnTo>
                  <a:pt x="5490000" y="117497"/>
                </a:lnTo>
                <a:cubicBezTo>
                  <a:pt x="5490000" y="72487"/>
                  <a:pt x="5453513" y="36000"/>
                  <a:pt x="5408503" y="36000"/>
                </a:cubicBezTo>
                <a:close/>
                <a:moveTo>
                  <a:pt x="92363" y="0"/>
                </a:moveTo>
                <a:lnTo>
                  <a:pt x="5487637" y="0"/>
                </a:lnTo>
                <a:cubicBezTo>
                  <a:pt x="5538648" y="0"/>
                  <a:pt x="5580000" y="41352"/>
                  <a:pt x="5580000" y="92363"/>
                </a:cubicBezTo>
                <a:lnTo>
                  <a:pt x="5580000" y="519637"/>
                </a:lnTo>
                <a:cubicBezTo>
                  <a:pt x="5580000" y="570648"/>
                  <a:pt x="5538648" y="612000"/>
                  <a:pt x="5487637" y="612000"/>
                </a:cubicBezTo>
                <a:lnTo>
                  <a:pt x="92363" y="612000"/>
                </a:lnTo>
                <a:cubicBezTo>
                  <a:pt x="41352" y="612000"/>
                  <a:pt x="0" y="570648"/>
                  <a:pt x="0" y="519637"/>
                </a:cubicBezTo>
                <a:lnTo>
                  <a:pt x="0" y="92363"/>
                </a:lnTo>
                <a:cubicBezTo>
                  <a:pt x="0" y="41352"/>
                  <a:pt x="41352" y="0"/>
                  <a:pt x="92363" y="0"/>
                </a:cubicBezTo>
                <a:close/>
              </a:path>
            </a:pathLst>
          </a:custGeom>
          <a:solidFill>
            <a:srgbClr val="FFFFFF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1013">
              <a:solidFill>
                <a:prstClr val="white"/>
              </a:solidFill>
              <a:cs typeface="Arial"/>
            </a:endParaRPr>
          </a:p>
        </p:txBody>
      </p:sp>
      <p:sp>
        <p:nvSpPr>
          <p:cNvPr id="354" name="Rektangel: rundade hörn 353">
            <a:extLst>
              <a:ext uri="{FF2B5EF4-FFF2-40B4-BE49-F238E27FC236}">
                <a16:creationId xmlns:a16="http://schemas.microsoft.com/office/drawing/2014/main" id="{5BCC052F-27E1-AAE4-730F-9852B663CCDF}"/>
              </a:ext>
            </a:extLst>
          </p:cNvPr>
          <p:cNvSpPr/>
          <p:nvPr/>
        </p:nvSpPr>
        <p:spPr>
          <a:xfrm>
            <a:off x="3342660" y="3719415"/>
            <a:ext cx="3037500" cy="95294"/>
          </a:xfrm>
          <a:prstGeom prst="roundRect">
            <a:avLst>
              <a:gd name="adj" fmla="val 15092"/>
            </a:avLst>
          </a:prstGeom>
          <a:noFill/>
          <a:ln w="19050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1013">
              <a:solidFill>
                <a:prstClr val="white"/>
              </a:solidFill>
              <a:cs typeface="Arial"/>
            </a:endParaRPr>
          </a:p>
        </p:txBody>
      </p:sp>
      <p:sp>
        <p:nvSpPr>
          <p:cNvPr id="408" name="Ellips 407">
            <a:extLst>
              <a:ext uri="{FF2B5EF4-FFF2-40B4-BE49-F238E27FC236}">
                <a16:creationId xmlns:a16="http://schemas.microsoft.com/office/drawing/2014/main" id="{9D3C91C5-1C75-855E-AD45-25A66DE8BED5}"/>
              </a:ext>
            </a:extLst>
          </p:cNvPr>
          <p:cNvSpPr/>
          <p:nvPr/>
        </p:nvSpPr>
        <p:spPr>
          <a:xfrm>
            <a:off x="2701370" y="3715517"/>
            <a:ext cx="94500" cy="94500"/>
          </a:xfrm>
          <a:prstGeom prst="ellipse">
            <a:avLst/>
          </a:prstGeom>
          <a:solidFill>
            <a:srgbClr val="F2F2F2"/>
          </a:solidFill>
          <a:ln w="1905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00">
                <a:solidFill>
                  <a:srgbClr val="4E5758"/>
                </a:solidFill>
                <a:cs typeface="Arial" panose="020B0604020202020204" pitchFamily="34" charset="0"/>
              </a:rPr>
              <a:t>-</a:t>
            </a:r>
          </a:p>
        </p:txBody>
      </p:sp>
      <p:sp>
        <p:nvSpPr>
          <p:cNvPr id="409" name="Ellips 408">
            <a:extLst>
              <a:ext uri="{FF2B5EF4-FFF2-40B4-BE49-F238E27FC236}">
                <a16:creationId xmlns:a16="http://schemas.microsoft.com/office/drawing/2014/main" id="{A1B31423-7050-7E82-5011-F023D044AA00}"/>
              </a:ext>
            </a:extLst>
          </p:cNvPr>
          <p:cNvSpPr/>
          <p:nvPr/>
        </p:nvSpPr>
        <p:spPr>
          <a:xfrm>
            <a:off x="3092435" y="3715517"/>
            <a:ext cx="94500" cy="94500"/>
          </a:xfrm>
          <a:prstGeom prst="ellipse">
            <a:avLst/>
          </a:prstGeom>
          <a:solidFill>
            <a:srgbClr val="FE9D93"/>
          </a:solidFill>
          <a:ln w="1905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00">
                <a:cs typeface="Arial" panose="020B0604020202020204" pitchFamily="34" charset="0"/>
              </a:rPr>
              <a:t>-12</a:t>
            </a:r>
          </a:p>
        </p:txBody>
      </p:sp>
      <p:sp>
        <p:nvSpPr>
          <p:cNvPr id="435" name="Rektangel: rundade hörn 434">
            <a:extLst>
              <a:ext uri="{FF2B5EF4-FFF2-40B4-BE49-F238E27FC236}">
                <a16:creationId xmlns:a16="http://schemas.microsoft.com/office/drawing/2014/main" id="{96A417B6-9CF4-67D3-4BD8-EC1C561CA941}"/>
              </a:ext>
            </a:extLst>
          </p:cNvPr>
          <p:cNvSpPr/>
          <p:nvPr/>
        </p:nvSpPr>
        <p:spPr>
          <a:xfrm>
            <a:off x="2222666" y="3713061"/>
            <a:ext cx="303750" cy="108000"/>
          </a:xfrm>
          <a:prstGeom prst="roundRect">
            <a:avLst/>
          </a:prstGeom>
          <a:noFill/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450" b="1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33</a:t>
            </a:r>
          </a:p>
        </p:txBody>
      </p:sp>
      <p:sp>
        <p:nvSpPr>
          <p:cNvPr id="457" name="Rektangel: rundade hörn 456">
            <a:extLst>
              <a:ext uri="{FF2B5EF4-FFF2-40B4-BE49-F238E27FC236}">
                <a16:creationId xmlns:a16="http://schemas.microsoft.com/office/drawing/2014/main" id="{F1B6C774-13D9-73BC-AE3F-34B0E5034B55}"/>
              </a:ext>
            </a:extLst>
          </p:cNvPr>
          <p:cNvSpPr/>
          <p:nvPr/>
        </p:nvSpPr>
        <p:spPr>
          <a:xfrm>
            <a:off x="1452216" y="3713061"/>
            <a:ext cx="819497" cy="108000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21500" tIns="20250" rIns="10125" bIns="20250" rtlCol="0" anchor="ctr">
            <a:normAutofit lnSpcReduction="10000"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75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[Fokus] Fysisk arbetsmiljö 8</a:t>
            </a:r>
          </a:p>
        </p:txBody>
      </p:sp>
      <p:graphicFrame>
        <p:nvGraphicFramePr>
          <p:cNvPr id="355" name="Chart 5">
            <a:extLst>
              <a:ext uri="{FF2B5EF4-FFF2-40B4-BE49-F238E27FC236}">
                <a16:creationId xmlns:a16="http://schemas.microsoft.com/office/drawing/2014/main" id="{D4794A37-411F-C558-83F2-7D3930275AA0}"/>
              </a:ext>
            </a:extLst>
          </p:cNvPr>
          <p:cNvGraphicFramePr/>
          <p:nvPr/>
        </p:nvGraphicFramePr>
        <p:xfrm>
          <a:off x="3342660" y="3841438"/>
          <a:ext cx="3037500" cy="101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356" name="Frihandsfigur: Form 355">
            <a:extLst>
              <a:ext uri="{FF2B5EF4-FFF2-40B4-BE49-F238E27FC236}">
                <a16:creationId xmlns:a16="http://schemas.microsoft.com/office/drawing/2014/main" id="{674A8AC0-5A49-C824-808A-28137104A319}"/>
              </a:ext>
            </a:extLst>
          </p:cNvPr>
          <p:cNvSpPr/>
          <p:nvPr/>
        </p:nvSpPr>
        <p:spPr>
          <a:xfrm>
            <a:off x="3292035" y="3838262"/>
            <a:ext cx="3138750" cy="108000"/>
          </a:xfrm>
          <a:custGeom>
            <a:avLst/>
            <a:gdLst>
              <a:gd name="connsiteX0" fmla="*/ 171497 w 5580000"/>
              <a:gd name="connsiteY0" fmla="*/ 36000 h 612000"/>
              <a:gd name="connsiteX1" fmla="*/ 90000 w 5580000"/>
              <a:gd name="connsiteY1" fmla="*/ 117497 h 612000"/>
              <a:gd name="connsiteX2" fmla="*/ 90000 w 5580000"/>
              <a:gd name="connsiteY2" fmla="*/ 494503 h 612000"/>
              <a:gd name="connsiteX3" fmla="*/ 171497 w 5580000"/>
              <a:gd name="connsiteY3" fmla="*/ 576000 h 612000"/>
              <a:gd name="connsiteX4" fmla="*/ 5408503 w 5580000"/>
              <a:gd name="connsiteY4" fmla="*/ 576000 h 612000"/>
              <a:gd name="connsiteX5" fmla="*/ 5490000 w 5580000"/>
              <a:gd name="connsiteY5" fmla="*/ 494503 h 612000"/>
              <a:gd name="connsiteX6" fmla="*/ 5490000 w 5580000"/>
              <a:gd name="connsiteY6" fmla="*/ 117497 h 612000"/>
              <a:gd name="connsiteX7" fmla="*/ 5408503 w 5580000"/>
              <a:gd name="connsiteY7" fmla="*/ 36000 h 612000"/>
              <a:gd name="connsiteX8" fmla="*/ 92363 w 5580000"/>
              <a:gd name="connsiteY8" fmla="*/ 0 h 612000"/>
              <a:gd name="connsiteX9" fmla="*/ 5487637 w 5580000"/>
              <a:gd name="connsiteY9" fmla="*/ 0 h 612000"/>
              <a:gd name="connsiteX10" fmla="*/ 5580000 w 5580000"/>
              <a:gd name="connsiteY10" fmla="*/ 92363 h 612000"/>
              <a:gd name="connsiteX11" fmla="*/ 5580000 w 5580000"/>
              <a:gd name="connsiteY11" fmla="*/ 519637 h 612000"/>
              <a:gd name="connsiteX12" fmla="*/ 5487637 w 5580000"/>
              <a:gd name="connsiteY12" fmla="*/ 612000 h 612000"/>
              <a:gd name="connsiteX13" fmla="*/ 92363 w 5580000"/>
              <a:gd name="connsiteY13" fmla="*/ 612000 h 612000"/>
              <a:gd name="connsiteX14" fmla="*/ 0 w 5580000"/>
              <a:gd name="connsiteY14" fmla="*/ 519637 h 612000"/>
              <a:gd name="connsiteX15" fmla="*/ 0 w 5580000"/>
              <a:gd name="connsiteY15" fmla="*/ 92363 h 612000"/>
              <a:gd name="connsiteX16" fmla="*/ 92363 w 5580000"/>
              <a:gd name="connsiteY16" fmla="*/ 0 h 61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580000" h="612000">
                <a:moveTo>
                  <a:pt x="171497" y="36000"/>
                </a:moveTo>
                <a:cubicBezTo>
                  <a:pt x="126487" y="36000"/>
                  <a:pt x="90000" y="72487"/>
                  <a:pt x="90000" y="117497"/>
                </a:cubicBezTo>
                <a:lnTo>
                  <a:pt x="90000" y="494503"/>
                </a:lnTo>
                <a:cubicBezTo>
                  <a:pt x="90000" y="539513"/>
                  <a:pt x="126487" y="576000"/>
                  <a:pt x="171497" y="576000"/>
                </a:cubicBezTo>
                <a:lnTo>
                  <a:pt x="5408503" y="576000"/>
                </a:lnTo>
                <a:cubicBezTo>
                  <a:pt x="5453513" y="576000"/>
                  <a:pt x="5490000" y="539513"/>
                  <a:pt x="5490000" y="494503"/>
                </a:cubicBezTo>
                <a:lnTo>
                  <a:pt x="5490000" y="117497"/>
                </a:lnTo>
                <a:cubicBezTo>
                  <a:pt x="5490000" y="72487"/>
                  <a:pt x="5453513" y="36000"/>
                  <a:pt x="5408503" y="36000"/>
                </a:cubicBezTo>
                <a:close/>
                <a:moveTo>
                  <a:pt x="92363" y="0"/>
                </a:moveTo>
                <a:lnTo>
                  <a:pt x="5487637" y="0"/>
                </a:lnTo>
                <a:cubicBezTo>
                  <a:pt x="5538648" y="0"/>
                  <a:pt x="5580000" y="41352"/>
                  <a:pt x="5580000" y="92363"/>
                </a:cubicBezTo>
                <a:lnTo>
                  <a:pt x="5580000" y="519637"/>
                </a:lnTo>
                <a:cubicBezTo>
                  <a:pt x="5580000" y="570648"/>
                  <a:pt x="5538648" y="612000"/>
                  <a:pt x="5487637" y="612000"/>
                </a:cubicBezTo>
                <a:lnTo>
                  <a:pt x="92363" y="612000"/>
                </a:lnTo>
                <a:cubicBezTo>
                  <a:pt x="41352" y="612000"/>
                  <a:pt x="0" y="570648"/>
                  <a:pt x="0" y="519637"/>
                </a:cubicBezTo>
                <a:lnTo>
                  <a:pt x="0" y="92363"/>
                </a:lnTo>
                <a:cubicBezTo>
                  <a:pt x="0" y="41352"/>
                  <a:pt x="41352" y="0"/>
                  <a:pt x="92363" y="0"/>
                </a:cubicBezTo>
                <a:close/>
              </a:path>
            </a:pathLst>
          </a:custGeom>
          <a:solidFill>
            <a:srgbClr val="FFFFFF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1013">
              <a:solidFill>
                <a:prstClr val="white"/>
              </a:solidFill>
              <a:cs typeface="Arial"/>
            </a:endParaRPr>
          </a:p>
        </p:txBody>
      </p:sp>
      <p:sp>
        <p:nvSpPr>
          <p:cNvPr id="357" name="Rektangel: rundade hörn 356">
            <a:extLst>
              <a:ext uri="{FF2B5EF4-FFF2-40B4-BE49-F238E27FC236}">
                <a16:creationId xmlns:a16="http://schemas.microsoft.com/office/drawing/2014/main" id="{D955A5CC-7E09-9262-C636-EA72E6C0E1DF}"/>
              </a:ext>
            </a:extLst>
          </p:cNvPr>
          <p:cNvSpPr/>
          <p:nvPr/>
        </p:nvSpPr>
        <p:spPr>
          <a:xfrm>
            <a:off x="3342660" y="3844615"/>
            <a:ext cx="3037500" cy="95294"/>
          </a:xfrm>
          <a:prstGeom prst="roundRect">
            <a:avLst>
              <a:gd name="adj" fmla="val 15092"/>
            </a:avLst>
          </a:prstGeom>
          <a:noFill/>
          <a:ln w="19050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1013">
              <a:solidFill>
                <a:prstClr val="white"/>
              </a:solidFill>
              <a:cs typeface="Arial"/>
            </a:endParaRPr>
          </a:p>
        </p:txBody>
      </p:sp>
      <p:sp>
        <p:nvSpPr>
          <p:cNvPr id="410" name="Ellips 409">
            <a:extLst>
              <a:ext uri="{FF2B5EF4-FFF2-40B4-BE49-F238E27FC236}">
                <a16:creationId xmlns:a16="http://schemas.microsoft.com/office/drawing/2014/main" id="{F4D3F28B-81C6-C7A3-5F79-49BF1A877AAB}"/>
              </a:ext>
            </a:extLst>
          </p:cNvPr>
          <p:cNvSpPr/>
          <p:nvPr/>
        </p:nvSpPr>
        <p:spPr>
          <a:xfrm>
            <a:off x="2701370" y="3840104"/>
            <a:ext cx="94500" cy="94500"/>
          </a:xfrm>
          <a:prstGeom prst="ellipse">
            <a:avLst/>
          </a:prstGeom>
          <a:solidFill>
            <a:srgbClr val="F2F2F2"/>
          </a:solidFill>
          <a:ln w="1905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00">
                <a:solidFill>
                  <a:srgbClr val="4E5758"/>
                </a:solidFill>
                <a:cs typeface="Arial" panose="020B0604020202020204" pitchFamily="34" charset="0"/>
              </a:rPr>
              <a:t>-</a:t>
            </a:r>
          </a:p>
        </p:txBody>
      </p:sp>
      <p:sp>
        <p:nvSpPr>
          <p:cNvPr id="411" name="Ellips 410">
            <a:extLst>
              <a:ext uri="{FF2B5EF4-FFF2-40B4-BE49-F238E27FC236}">
                <a16:creationId xmlns:a16="http://schemas.microsoft.com/office/drawing/2014/main" id="{AA6CB739-7523-1719-2B1D-71D568D67478}"/>
              </a:ext>
            </a:extLst>
          </p:cNvPr>
          <p:cNvSpPr/>
          <p:nvPr/>
        </p:nvSpPr>
        <p:spPr>
          <a:xfrm>
            <a:off x="3092435" y="3840104"/>
            <a:ext cx="94500" cy="94500"/>
          </a:xfrm>
          <a:prstGeom prst="ellipse">
            <a:avLst/>
          </a:prstGeom>
          <a:solidFill>
            <a:srgbClr val="83E7AF"/>
          </a:solidFill>
          <a:ln w="1905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00">
                <a:cs typeface="Arial" panose="020B0604020202020204" pitchFamily="34" charset="0"/>
              </a:rPr>
              <a:t>+6</a:t>
            </a:r>
          </a:p>
        </p:txBody>
      </p:sp>
      <p:sp>
        <p:nvSpPr>
          <p:cNvPr id="436" name="Rektangel: rundade hörn 435">
            <a:extLst>
              <a:ext uri="{FF2B5EF4-FFF2-40B4-BE49-F238E27FC236}">
                <a16:creationId xmlns:a16="http://schemas.microsoft.com/office/drawing/2014/main" id="{DBD069F6-EFE1-CEB0-E237-1DC3A487012F}"/>
              </a:ext>
            </a:extLst>
          </p:cNvPr>
          <p:cNvSpPr/>
          <p:nvPr/>
        </p:nvSpPr>
        <p:spPr>
          <a:xfrm>
            <a:off x="2222666" y="3838262"/>
            <a:ext cx="303750" cy="108000"/>
          </a:xfrm>
          <a:prstGeom prst="roundRect">
            <a:avLst/>
          </a:prstGeom>
          <a:noFill/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450" b="1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76</a:t>
            </a:r>
          </a:p>
        </p:txBody>
      </p:sp>
      <p:sp>
        <p:nvSpPr>
          <p:cNvPr id="458" name="Rektangel: rundade hörn 457">
            <a:extLst>
              <a:ext uri="{FF2B5EF4-FFF2-40B4-BE49-F238E27FC236}">
                <a16:creationId xmlns:a16="http://schemas.microsoft.com/office/drawing/2014/main" id="{F6332078-E621-FEFA-470F-B07D2064BB0B}"/>
              </a:ext>
            </a:extLst>
          </p:cNvPr>
          <p:cNvSpPr/>
          <p:nvPr/>
        </p:nvSpPr>
        <p:spPr>
          <a:xfrm>
            <a:off x="1452216" y="3838262"/>
            <a:ext cx="819497" cy="108000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21500" tIns="20250" rIns="10125" bIns="20250" rtlCol="0" anchor="ctr">
            <a:normAutofit lnSpcReduction="10000"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75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[Fokus] Fysisk arbetsmiljö 10</a:t>
            </a:r>
          </a:p>
        </p:txBody>
      </p:sp>
      <p:sp>
        <p:nvSpPr>
          <p:cNvPr id="484" name="Rektangel: rundade hörn 483">
            <a:extLst>
              <a:ext uri="{FF2B5EF4-FFF2-40B4-BE49-F238E27FC236}">
                <a16:creationId xmlns:a16="http://schemas.microsoft.com/office/drawing/2014/main" id="{1586BCE1-2554-6737-5A40-5F3DE90E181E}"/>
              </a:ext>
            </a:extLst>
          </p:cNvPr>
          <p:cNvSpPr/>
          <p:nvPr/>
        </p:nvSpPr>
        <p:spPr>
          <a:xfrm>
            <a:off x="630488" y="1977318"/>
            <a:ext cx="303750" cy="303750"/>
          </a:xfrm>
          <a:prstGeom prst="roundRect">
            <a:avLst>
              <a:gd name="adj" fmla="val 10821"/>
            </a:avLst>
          </a:prstGeom>
          <a:noFill/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1688" b="1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69</a:t>
            </a:r>
          </a:p>
        </p:txBody>
      </p:sp>
      <p:sp>
        <p:nvSpPr>
          <p:cNvPr id="485" name="Ellips 484">
            <a:extLst>
              <a:ext uri="{FF2B5EF4-FFF2-40B4-BE49-F238E27FC236}">
                <a16:creationId xmlns:a16="http://schemas.microsoft.com/office/drawing/2014/main" id="{20DF671D-394C-C920-C1A8-34E0049901EA}"/>
              </a:ext>
            </a:extLst>
          </p:cNvPr>
          <p:cNvSpPr/>
          <p:nvPr/>
        </p:nvSpPr>
        <p:spPr>
          <a:xfrm>
            <a:off x="721613" y="1734536"/>
            <a:ext cx="121500" cy="121500"/>
          </a:xfrm>
          <a:prstGeom prst="ellipse">
            <a:avLst/>
          </a:prstGeom>
          <a:solidFill>
            <a:srgbClr val="F2F2F2"/>
          </a:solidFill>
          <a:ln w="1905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</a:pPr>
            <a:r>
              <a:rPr lang="sv-SE" sz="394">
                <a:solidFill>
                  <a:srgbClr val="4E5758"/>
                </a:solidFill>
                <a:cs typeface="Arial" panose="020B0604020202020204" pitchFamily="34" charset="0"/>
              </a:rPr>
              <a:t>±0</a:t>
            </a:r>
          </a:p>
        </p:txBody>
      </p:sp>
      <p:sp>
        <p:nvSpPr>
          <p:cNvPr id="486" name="Ellips 485">
            <a:extLst>
              <a:ext uri="{FF2B5EF4-FFF2-40B4-BE49-F238E27FC236}">
                <a16:creationId xmlns:a16="http://schemas.microsoft.com/office/drawing/2014/main" id="{28FD0D50-51E2-71FA-2565-59A25070B7CF}"/>
              </a:ext>
            </a:extLst>
          </p:cNvPr>
          <p:cNvSpPr/>
          <p:nvPr/>
        </p:nvSpPr>
        <p:spPr>
          <a:xfrm>
            <a:off x="721613" y="2402351"/>
            <a:ext cx="121500" cy="121500"/>
          </a:xfrm>
          <a:prstGeom prst="ellipse">
            <a:avLst/>
          </a:prstGeom>
          <a:solidFill>
            <a:srgbClr val="83E7AF"/>
          </a:solidFill>
          <a:ln w="1905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</a:pPr>
            <a:r>
              <a:rPr lang="sv-SE" sz="394">
                <a:cs typeface="Arial" panose="020B0604020202020204" pitchFamily="34" charset="0"/>
              </a:rPr>
              <a:t>+5</a:t>
            </a:r>
          </a:p>
        </p:txBody>
      </p:sp>
      <p:sp>
        <p:nvSpPr>
          <p:cNvPr id="487" name="Rektangel: rundade hörn 486">
            <a:extLst>
              <a:ext uri="{FF2B5EF4-FFF2-40B4-BE49-F238E27FC236}">
                <a16:creationId xmlns:a16="http://schemas.microsoft.com/office/drawing/2014/main" id="{7376CB16-955E-D0D2-55A5-36155673BD80}"/>
              </a:ext>
            </a:extLst>
          </p:cNvPr>
          <p:cNvSpPr/>
          <p:nvPr/>
        </p:nvSpPr>
        <p:spPr>
          <a:xfrm>
            <a:off x="658326" y="1672140"/>
            <a:ext cx="248075" cy="52002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250" tIns="0" rIns="0" bIns="0" rtlCol="0" anchor="ctr">
            <a:sp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38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Förändring*</a:t>
            </a:r>
          </a:p>
        </p:txBody>
      </p:sp>
      <p:sp>
        <p:nvSpPr>
          <p:cNvPr id="488" name="Rektangel: rundade hörn 487">
            <a:extLst>
              <a:ext uri="{FF2B5EF4-FFF2-40B4-BE49-F238E27FC236}">
                <a16:creationId xmlns:a16="http://schemas.microsoft.com/office/drawing/2014/main" id="{68F3C0B4-EBB2-6397-90F7-D8196C5FC6A2}"/>
              </a:ext>
            </a:extLst>
          </p:cNvPr>
          <p:cNvSpPr/>
          <p:nvPr/>
        </p:nvSpPr>
        <p:spPr>
          <a:xfrm>
            <a:off x="643899" y="2533701"/>
            <a:ext cx="276929" cy="52002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250" tIns="0" rIns="0" bIns="0" rtlCol="0" anchor="ctr">
            <a:sp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38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Benchmark**</a:t>
            </a:r>
          </a:p>
        </p:txBody>
      </p:sp>
      <p:cxnSp>
        <p:nvCxnSpPr>
          <p:cNvPr id="489" name="Rak koppling 488" descr="total_benchmark_line">
            <a:extLst>
              <a:ext uri="{FF2B5EF4-FFF2-40B4-BE49-F238E27FC236}">
                <a16:creationId xmlns:a16="http://schemas.microsoft.com/office/drawing/2014/main" id="{5D070638-1A30-20CF-EBFD-8ACC09212E29}"/>
              </a:ext>
            </a:extLst>
          </p:cNvPr>
          <p:cNvCxnSpPr>
            <a:endCxn id="484" idx="2"/>
          </p:cNvCxnSpPr>
          <p:nvPr/>
        </p:nvCxnSpPr>
        <p:spPr>
          <a:xfrm flipH="1" flipV="1">
            <a:off x="782363" y="2281069"/>
            <a:ext cx="0" cy="118302"/>
          </a:xfrm>
          <a:prstGeom prst="line">
            <a:avLst/>
          </a:prstGeom>
          <a:noFill/>
          <a:ln w="19050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90" name="Rak koppling 489" descr="total_change_line">
            <a:extLst>
              <a:ext uri="{FF2B5EF4-FFF2-40B4-BE49-F238E27FC236}">
                <a16:creationId xmlns:a16="http://schemas.microsoft.com/office/drawing/2014/main" id="{702D3032-BBAD-3639-C590-6554ECCA6DC0}"/>
              </a:ext>
            </a:extLst>
          </p:cNvPr>
          <p:cNvCxnSpPr>
            <a:stCxn id="484" idx="0"/>
          </p:cNvCxnSpPr>
          <p:nvPr/>
        </p:nvCxnSpPr>
        <p:spPr>
          <a:xfrm flipH="1" flipV="1">
            <a:off x="782363" y="1853085"/>
            <a:ext cx="0" cy="124233"/>
          </a:xfrm>
          <a:prstGeom prst="line">
            <a:avLst/>
          </a:prstGeom>
          <a:noFill/>
          <a:ln w="19050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aphicFrame>
        <p:nvGraphicFramePr>
          <p:cNvPr id="504" name="Chart 5">
            <a:extLst>
              <a:ext uri="{FF2B5EF4-FFF2-40B4-BE49-F238E27FC236}">
                <a16:creationId xmlns:a16="http://schemas.microsoft.com/office/drawing/2014/main" id="{08FF0739-390C-58DC-A978-C4A8EB29193A}"/>
              </a:ext>
            </a:extLst>
          </p:cNvPr>
          <p:cNvGraphicFramePr/>
          <p:nvPr/>
        </p:nvGraphicFramePr>
        <p:xfrm>
          <a:off x="3342660" y="3966639"/>
          <a:ext cx="3037500" cy="101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505" name="Frihandsfigur: Form 504">
            <a:extLst>
              <a:ext uri="{FF2B5EF4-FFF2-40B4-BE49-F238E27FC236}">
                <a16:creationId xmlns:a16="http://schemas.microsoft.com/office/drawing/2014/main" id="{2A20FABA-AC84-18F2-3C85-4BE768B1FDB4}"/>
              </a:ext>
            </a:extLst>
          </p:cNvPr>
          <p:cNvSpPr/>
          <p:nvPr/>
        </p:nvSpPr>
        <p:spPr>
          <a:xfrm>
            <a:off x="3292035" y="3963462"/>
            <a:ext cx="3138750" cy="108000"/>
          </a:xfrm>
          <a:custGeom>
            <a:avLst/>
            <a:gdLst>
              <a:gd name="connsiteX0" fmla="*/ 171497 w 5580000"/>
              <a:gd name="connsiteY0" fmla="*/ 36000 h 612000"/>
              <a:gd name="connsiteX1" fmla="*/ 90000 w 5580000"/>
              <a:gd name="connsiteY1" fmla="*/ 117497 h 612000"/>
              <a:gd name="connsiteX2" fmla="*/ 90000 w 5580000"/>
              <a:gd name="connsiteY2" fmla="*/ 494503 h 612000"/>
              <a:gd name="connsiteX3" fmla="*/ 171497 w 5580000"/>
              <a:gd name="connsiteY3" fmla="*/ 576000 h 612000"/>
              <a:gd name="connsiteX4" fmla="*/ 5408503 w 5580000"/>
              <a:gd name="connsiteY4" fmla="*/ 576000 h 612000"/>
              <a:gd name="connsiteX5" fmla="*/ 5490000 w 5580000"/>
              <a:gd name="connsiteY5" fmla="*/ 494503 h 612000"/>
              <a:gd name="connsiteX6" fmla="*/ 5490000 w 5580000"/>
              <a:gd name="connsiteY6" fmla="*/ 117497 h 612000"/>
              <a:gd name="connsiteX7" fmla="*/ 5408503 w 5580000"/>
              <a:gd name="connsiteY7" fmla="*/ 36000 h 612000"/>
              <a:gd name="connsiteX8" fmla="*/ 92363 w 5580000"/>
              <a:gd name="connsiteY8" fmla="*/ 0 h 612000"/>
              <a:gd name="connsiteX9" fmla="*/ 5487637 w 5580000"/>
              <a:gd name="connsiteY9" fmla="*/ 0 h 612000"/>
              <a:gd name="connsiteX10" fmla="*/ 5580000 w 5580000"/>
              <a:gd name="connsiteY10" fmla="*/ 92363 h 612000"/>
              <a:gd name="connsiteX11" fmla="*/ 5580000 w 5580000"/>
              <a:gd name="connsiteY11" fmla="*/ 519637 h 612000"/>
              <a:gd name="connsiteX12" fmla="*/ 5487637 w 5580000"/>
              <a:gd name="connsiteY12" fmla="*/ 612000 h 612000"/>
              <a:gd name="connsiteX13" fmla="*/ 92363 w 5580000"/>
              <a:gd name="connsiteY13" fmla="*/ 612000 h 612000"/>
              <a:gd name="connsiteX14" fmla="*/ 0 w 5580000"/>
              <a:gd name="connsiteY14" fmla="*/ 519637 h 612000"/>
              <a:gd name="connsiteX15" fmla="*/ 0 w 5580000"/>
              <a:gd name="connsiteY15" fmla="*/ 92363 h 612000"/>
              <a:gd name="connsiteX16" fmla="*/ 92363 w 5580000"/>
              <a:gd name="connsiteY16" fmla="*/ 0 h 61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580000" h="612000">
                <a:moveTo>
                  <a:pt x="171497" y="36000"/>
                </a:moveTo>
                <a:cubicBezTo>
                  <a:pt x="126487" y="36000"/>
                  <a:pt x="90000" y="72487"/>
                  <a:pt x="90000" y="117497"/>
                </a:cubicBezTo>
                <a:lnTo>
                  <a:pt x="90000" y="494503"/>
                </a:lnTo>
                <a:cubicBezTo>
                  <a:pt x="90000" y="539513"/>
                  <a:pt x="126487" y="576000"/>
                  <a:pt x="171497" y="576000"/>
                </a:cubicBezTo>
                <a:lnTo>
                  <a:pt x="5408503" y="576000"/>
                </a:lnTo>
                <a:cubicBezTo>
                  <a:pt x="5453513" y="576000"/>
                  <a:pt x="5490000" y="539513"/>
                  <a:pt x="5490000" y="494503"/>
                </a:cubicBezTo>
                <a:lnTo>
                  <a:pt x="5490000" y="117497"/>
                </a:lnTo>
                <a:cubicBezTo>
                  <a:pt x="5490000" y="72487"/>
                  <a:pt x="5453513" y="36000"/>
                  <a:pt x="5408503" y="36000"/>
                </a:cubicBezTo>
                <a:close/>
                <a:moveTo>
                  <a:pt x="92363" y="0"/>
                </a:moveTo>
                <a:lnTo>
                  <a:pt x="5487637" y="0"/>
                </a:lnTo>
                <a:cubicBezTo>
                  <a:pt x="5538648" y="0"/>
                  <a:pt x="5580000" y="41352"/>
                  <a:pt x="5580000" y="92363"/>
                </a:cubicBezTo>
                <a:lnTo>
                  <a:pt x="5580000" y="519637"/>
                </a:lnTo>
                <a:cubicBezTo>
                  <a:pt x="5580000" y="570648"/>
                  <a:pt x="5538648" y="612000"/>
                  <a:pt x="5487637" y="612000"/>
                </a:cubicBezTo>
                <a:lnTo>
                  <a:pt x="92363" y="612000"/>
                </a:lnTo>
                <a:cubicBezTo>
                  <a:pt x="41352" y="612000"/>
                  <a:pt x="0" y="570648"/>
                  <a:pt x="0" y="519637"/>
                </a:cubicBezTo>
                <a:lnTo>
                  <a:pt x="0" y="92363"/>
                </a:lnTo>
                <a:cubicBezTo>
                  <a:pt x="0" y="41352"/>
                  <a:pt x="41352" y="0"/>
                  <a:pt x="92363" y="0"/>
                </a:cubicBezTo>
                <a:close/>
              </a:path>
            </a:pathLst>
          </a:custGeom>
          <a:solidFill>
            <a:srgbClr val="FFFFFF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1013">
              <a:solidFill>
                <a:prstClr val="white"/>
              </a:solidFill>
              <a:cs typeface="Arial"/>
            </a:endParaRPr>
          </a:p>
        </p:txBody>
      </p:sp>
      <p:sp>
        <p:nvSpPr>
          <p:cNvPr id="506" name="Rektangel: rundade hörn 505">
            <a:extLst>
              <a:ext uri="{FF2B5EF4-FFF2-40B4-BE49-F238E27FC236}">
                <a16:creationId xmlns:a16="http://schemas.microsoft.com/office/drawing/2014/main" id="{11426C30-7719-9B49-EDB5-C72CA5E661C2}"/>
              </a:ext>
            </a:extLst>
          </p:cNvPr>
          <p:cNvSpPr/>
          <p:nvPr/>
        </p:nvSpPr>
        <p:spPr>
          <a:xfrm>
            <a:off x="3342660" y="3969816"/>
            <a:ext cx="3037500" cy="95294"/>
          </a:xfrm>
          <a:prstGeom prst="roundRect">
            <a:avLst>
              <a:gd name="adj" fmla="val 15092"/>
            </a:avLst>
          </a:prstGeom>
          <a:noFill/>
          <a:ln w="19050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1013">
              <a:solidFill>
                <a:prstClr val="white"/>
              </a:solidFill>
              <a:cs typeface="Arial"/>
            </a:endParaRPr>
          </a:p>
        </p:txBody>
      </p:sp>
      <p:sp>
        <p:nvSpPr>
          <p:cNvPr id="510" name="Ellips 509">
            <a:extLst>
              <a:ext uri="{FF2B5EF4-FFF2-40B4-BE49-F238E27FC236}">
                <a16:creationId xmlns:a16="http://schemas.microsoft.com/office/drawing/2014/main" id="{9D2E1DA2-EE9D-7200-C7AB-865654C2DC26}"/>
              </a:ext>
            </a:extLst>
          </p:cNvPr>
          <p:cNvSpPr/>
          <p:nvPr/>
        </p:nvSpPr>
        <p:spPr>
          <a:xfrm>
            <a:off x="2701370" y="3964691"/>
            <a:ext cx="94500" cy="94500"/>
          </a:xfrm>
          <a:prstGeom prst="ellipse">
            <a:avLst/>
          </a:prstGeom>
          <a:solidFill>
            <a:srgbClr val="F2F2F2"/>
          </a:solidFill>
          <a:ln w="1905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00">
                <a:solidFill>
                  <a:srgbClr val="4E5758"/>
                </a:solidFill>
                <a:cs typeface="Arial" panose="020B0604020202020204" pitchFamily="34" charset="0"/>
              </a:rPr>
              <a:t>-</a:t>
            </a:r>
          </a:p>
        </p:txBody>
      </p:sp>
      <p:sp>
        <p:nvSpPr>
          <p:cNvPr id="511" name="Ellips 510">
            <a:extLst>
              <a:ext uri="{FF2B5EF4-FFF2-40B4-BE49-F238E27FC236}">
                <a16:creationId xmlns:a16="http://schemas.microsoft.com/office/drawing/2014/main" id="{7A1737C9-EACC-2255-FD76-6E78D2B926EA}"/>
              </a:ext>
            </a:extLst>
          </p:cNvPr>
          <p:cNvSpPr/>
          <p:nvPr/>
        </p:nvSpPr>
        <p:spPr>
          <a:xfrm>
            <a:off x="3092435" y="3964691"/>
            <a:ext cx="94500" cy="94500"/>
          </a:xfrm>
          <a:prstGeom prst="ellipse">
            <a:avLst/>
          </a:prstGeom>
          <a:solidFill>
            <a:srgbClr val="FE9D93"/>
          </a:solidFill>
          <a:ln w="1905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00">
                <a:cs typeface="Arial" panose="020B0604020202020204" pitchFamily="34" charset="0"/>
              </a:rPr>
              <a:t>-3</a:t>
            </a:r>
          </a:p>
        </p:txBody>
      </p:sp>
      <p:sp>
        <p:nvSpPr>
          <p:cNvPr id="514" name="Rektangel: rundade hörn 513">
            <a:extLst>
              <a:ext uri="{FF2B5EF4-FFF2-40B4-BE49-F238E27FC236}">
                <a16:creationId xmlns:a16="http://schemas.microsoft.com/office/drawing/2014/main" id="{F683B9DB-6540-DC2E-B154-62E028737BAF}"/>
              </a:ext>
            </a:extLst>
          </p:cNvPr>
          <p:cNvSpPr/>
          <p:nvPr/>
        </p:nvSpPr>
        <p:spPr>
          <a:xfrm>
            <a:off x="2222666" y="3963462"/>
            <a:ext cx="303750" cy="108000"/>
          </a:xfrm>
          <a:prstGeom prst="roundRect">
            <a:avLst/>
          </a:prstGeom>
          <a:noFill/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450" b="1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62</a:t>
            </a:r>
          </a:p>
        </p:txBody>
      </p:sp>
      <p:sp>
        <p:nvSpPr>
          <p:cNvPr id="516" name="Rektangel: rundade hörn 515">
            <a:extLst>
              <a:ext uri="{FF2B5EF4-FFF2-40B4-BE49-F238E27FC236}">
                <a16:creationId xmlns:a16="http://schemas.microsoft.com/office/drawing/2014/main" id="{E853D418-6160-A238-A396-0A7F0DA73F6E}"/>
              </a:ext>
            </a:extLst>
          </p:cNvPr>
          <p:cNvSpPr/>
          <p:nvPr/>
        </p:nvSpPr>
        <p:spPr>
          <a:xfrm>
            <a:off x="1452216" y="3963462"/>
            <a:ext cx="819497" cy="108000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21500" tIns="20250" rIns="10125" bIns="20250" rtlCol="0" anchor="ctr">
            <a:normAutofit lnSpcReduction="10000"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75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[Fokus] Fysisk arbetsmiljö 11</a:t>
            </a:r>
          </a:p>
        </p:txBody>
      </p:sp>
      <p:graphicFrame>
        <p:nvGraphicFramePr>
          <p:cNvPr id="507" name="Chart 5">
            <a:extLst>
              <a:ext uri="{FF2B5EF4-FFF2-40B4-BE49-F238E27FC236}">
                <a16:creationId xmlns:a16="http://schemas.microsoft.com/office/drawing/2014/main" id="{16D8B6A6-93DE-11D6-4863-A11970658FB4}"/>
              </a:ext>
            </a:extLst>
          </p:cNvPr>
          <p:cNvGraphicFramePr/>
          <p:nvPr/>
        </p:nvGraphicFramePr>
        <p:xfrm>
          <a:off x="3342660" y="4091840"/>
          <a:ext cx="3037500" cy="101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508" name="Frihandsfigur: Form 507">
            <a:extLst>
              <a:ext uri="{FF2B5EF4-FFF2-40B4-BE49-F238E27FC236}">
                <a16:creationId xmlns:a16="http://schemas.microsoft.com/office/drawing/2014/main" id="{51FFE21D-91D4-4234-DC8B-D5EFBAD9BA73}"/>
              </a:ext>
            </a:extLst>
          </p:cNvPr>
          <p:cNvSpPr/>
          <p:nvPr/>
        </p:nvSpPr>
        <p:spPr>
          <a:xfrm>
            <a:off x="3292035" y="4088663"/>
            <a:ext cx="3138750" cy="108000"/>
          </a:xfrm>
          <a:custGeom>
            <a:avLst/>
            <a:gdLst>
              <a:gd name="connsiteX0" fmla="*/ 171497 w 5580000"/>
              <a:gd name="connsiteY0" fmla="*/ 36000 h 612000"/>
              <a:gd name="connsiteX1" fmla="*/ 90000 w 5580000"/>
              <a:gd name="connsiteY1" fmla="*/ 117497 h 612000"/>
              <a:gd name="connsiteX2" fmla="*/ 90000 w 5580000"/>
              <a:gd name="connsiteY2" fmla="*/ 494503 h 612000"/>
              <a:gd name="connsiteX3" fmla="*/ 171497 w 5580000"/>
              <a:gd name="connsiteY3" fmla="*/ 576000 h 612000"/>
              <a:gd name="connsiteX4" fmla="*/ 5408503 w 5580000"/>
              <a:gd name="connsiteY4" fmla="*/ 576000 h 612000"/>
              <a:gd name="connsiteX5" fmla="*/ 5490000 w 5580000"/>
              <a:gd name="connsiteY5" fmla="*/ 494503 h 612000"/>
              <a:gd name="connsiteX6" fmla="*/ 5490000 w 5580000"/>
              <a:gd name="connsiteY6" fmla="*/ 117497 h 612000"/>
              <a:gd name="connsiteX7" fmla="*/ 5408503 w 5580000"/>
              <a:gd name="connsiteY7" fmla="*/ 36000 h 612000"/>
              <a:gd name="connsiteX8" fmla="*/ 92363 w 5580000"/>
              <a:gd name="connsiteY8" fmla="*/ 0 h 612000"/>
              <a:gd name="connsiteX9" fmla="*/ 5487637 w 5580000"/>
              <a:gd name="connsiteY9" fmla="*/ 0 h 612000"/>
              <a:gd name="connsiteX10" fmla="*/ 5580000 w 5580000"/>
              <a:gd name="connsiteY10" fmla="*/ 92363 h 612000"/>
              <a:gd name="connsiteX11" fmla="*/ 5580000 w 5580000"/>
              <a:gd name="connsiteY11" fmla="*/ 519637 h 612000"/>
              <a:gd name="connsiteX12" fmla="*/ 5487637 w 5580000"/>
              <a:gd name="connsiteY12" fmla="*/ 612000 h 612000"/>
              <a:gd name="connsiteX13" fmla="*/ 92363 w 5580000"/>
              <a:gd name="connsiteY13" fmla="*/ 612000 h 612000"/>
              <a:gd name="connsiteX14" fmla="*/ 0 w 5580000"/>
              <a:gd name="connsiteY14" fmla="*/ 519637 h 612000"/>
              <a:gd name="connsiteX15" fmla="*/ 0 w 5580000"/>
              <a:gd name="connsiteY15" fmla="*/ 92363 h 612000"/>
              <a:gd name="connsiteX16" fmla="*/ 92363 w 5580000"/>
              <a:gd name="connsiteY16" fmla="*/ 0 h 61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580000" h="612000">
                <a:moveTo>
                  <a:pt x="171497" y="36000"/>
                </a:moveTo>
                <a:cubicBezTo>
                  <a:pt x="126487" y="36000"/>
                  <a:pt x="90000" y="72487"/>
                  <a:pt x="90000" y="117497"/>
                </a:cubicBezTo>
                <a:lnTo>
                  <a:pt x="90000" y="494503"/>
                </a:lnTo>
                <a:cubicBezTo>
                  <a:pt x="90000" y="539513"/>
                  <a:pt x="126487" y="576000"/>
                  <a:pt x="171497" y="576000"/>
                </a:cubicBezTo>
                <a:lnTo>
                  <a:pt x="5408503" y="576000"/>
                </a:lnTo>
                <a:cubicBezTo>
                  <a:pt x="5453513" y="576000"/>
                  <a:pt x="5490000" y="539513"/>
                  <a:pt x="5490000" y="494503"/>
                </a:cubicBezTo>
                <a:lnTo>
                  <a:pt x="5490000" y="117497"/>
                </a:lnTo>
                <a:cubicBezTo>
                  <a:pt x="5490000" y="72487"/>
                  <a:pt x="5453513" y="36000"/>
                  <a:pt x="5408503" y="36000"/>
                </a:cubicBezTo>
                <a:close/>
                <a:moveTo>
                  <a:pt x="92363" y="0"/>
                </a:moveTo>
                <a:lnTo>
                  <a:pt x="5487637" y="0"/>
                </a:lnTo>
                <a:cubicBezTo>
                  <a:pt x="5538648" y="0"/>
                  <a:pt x="5580000" y="41352"/>
                  <a:pt x="5580000" y="92363"/>
                </a:cubicBezTo>
                <a:lnTo>
                  <a:pt x="5580000" y="519637"/>
                </a:lnTo>
                <a:cubicBezTo>
                  <a:pt x="5580000" y="570648"/>
                  <a:pt x="5538648" y="612000"/>
                  <a:pt x="5487637" y="612000"/>
                </a:cubicBezTo>
                <a:lnTo>
                  <a:pt x="92363" y="612000"/>
                </a:lnTo>
                <a:cubicBezTo>
                  <a:pt x="41352" y="612000"/>
                  <a:pt x="0" y="570648"/>
                  <a:pt x="0" y="519637"/>
                </a:cubicBezTo>
                <a:lnTo>
                  <a:pt x="0" y="92363"/>
                </a:lnTo>
                <a:cubicBezTo>
                  <a:pt x="0" y="41352"/>
                  <a:pt x="41352" y="0"/>
                  <a:pt x="92363" y="0"/>
                </a:cubicBezTo>
                <a:close/>
              </a:path>
            </a:pathLst>
          </a:custGeom>
          <a:solidFill>
            <a:srgbClr val="FFFFFF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1013">
              <a:solidFill>
                <a:prstClr val="white"/>
              </a:solidFill>
              <a:cs typeface="Arial"/>
            </a:endParaRPr>
          </a:p>
        </p:txBody>
      </p:sp>
      <p:sp>
        <p:nvSpPr>
          <p:cNvPr id="509" name="Rektangel: rundade hörn 508">
            <a:extLst>
              <a:ext uri="{FF2B5EF4-FFF2-40B4-BE49-F238E27FC236}">
                <a16:creationId xmlns:a16="http://schemas.microsoft.com/office/drawing/2014/main" id="{40A39474-EBB8-441A-29E7-AD5713735AE8}"/>
              </a:ext>
            </a:extLst>
          </p:cNvPr>
          <p:cNvSpPr/>
          <p:nvPr/>
        </p:nvSpPr>
        <p:spPr>
          <a:xfrm>
            <a:off x="3342660" y="4095017"/>
            <a:ext cx="3037500" cy="95294"/>
          </a:xfrm>
          <a:prstGeom prst="roundRect">
            <a:avLst>
              <a:gd name="adj" fmla="val 15092"/>
            </a:avLst>
          </a:prstGeom>
          <a:noFill/>
          <a:ln w="19050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endParaRPr lang="sv-SE" sz="1013">
              <a:solidFill>
                <a:prstClr val="white"/>
              </a:solidFill>
              <a:cs typeface="Arial"/>
            </a:endParaRPr>
          </a:p>
        </p:txBody>
      </p:sp>
      <p:sp>
        <p:nvSpPr>
          <p:cNvPr id="512" name="Ellips 511">
            <a:extLst>
              <a:ext uri="{FF2B5EF4-FFF2-40B4-BE49-F238E27FC236}">
                <a16:creationId xmlns:a16="http://schemas.microsoft.com/office/drawing/2014/main" id="{5B2E34AE-94BE-AD23-DCD5-D2BC56E94797}"/>
              </a:ext>
            </a:extLst>
          </p:cNvPr>
          <p:cNvSpPr/>
          <p:nvPr/>
        </p:nvSpPr>
        <p:spPr>
          <a:xfrm>
            <a:off x="2701370" y="4089278"/>
            <a:ext cx="94500" cy="94500"/>
          </a:xfrm>
          <a:prstGeom prst="ellipse">
            <a:avLst/>
          </a:prstGeom>
          <a:solidFill>
            <a:srgbClr val="F2F2F2"/>
          </a:solidFill>
          <a:ln w="1905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00">
                <a:solidFill>
                  <a:srgbClr val="4E5758"/>
                </a:solidFill>
                <a:cs typeface="Arial" panose="020B0604020202020204" pitchFamily="34" charset="0"/>
              </a:rPr>
              <a:t>-</a:t>
            </a:r>
          </a:p>
        </p:txBody>
      </p:sp>
      <p:sp>
        <p:nvSpPr>
          <p:cNvPr id="513" name="Ellips 512">
            <a:extLst>
              <a:ext uri="{FF2B5EF4-FFF2-40B4-BE49-F238E27FC236}">
                <a16:creationId xmlns:a16="http://schemas.microsoft.com/office/drawing/2014/main" id="{02CA5F88-AF92-FD7F-728A-BC1CF0892F2B}"/>
              </a:ext>
            </a:extLst>
          </p:cNvPr>
          <p:cNvSpPr/>
          <p:nvPr/>
        </p:nvSpPr>
        <p:spPr>
          <a:xfrm>
            <a:off x="3092435" y="4089278"/>
            <a:ext cx="94500" cy="94500"/>
          </a:xfrm>
          <a:prstGeom prst="ellipse">
            <a:avLst/>
          </a:prstGeom>
          <a:solidFill>
            <a:srgbClr val="83E7AF"/>
          </a:solidFill>
          <a:ln w="1905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00">
                <a:cs typeface="Arial" panose="020B0604020202020204" pitchFamily="34" charset="0"/>
              </a:rPr>
              <a:t>+2</a:t>
            </a:r>
          </a:p>
        </p:txBody>
      </p:sp>
      <p:sp>
        <p:nvSpPr>
          <p:cNvPr id="515" name="Rektangel: rundade hörn 514">
            <a:extLst>
              <a:ext uri="{FF2B5EF4-FFF2-40B4-BE49-F238E27FC236}">
                <a16:creationId xmlns:a16="http://schemas.microsoft.com/office/drawing/2014/main" id="{CA160886-4FD0-E618-38F8-91D6DFDBFCFE}"/>
              </a:ext>
            </a:extLst>
          </p:cNvPr>
          <p:cNvSpPr/>
          <p:nvPr/>
        </p:nvSpPr>
        <p:spPr>
          <a:xfrm>
            <a:off x="2222666" y="4088663"/>
            <a:ext cx="303750" cy="108000"/>
          </a:xfrm>
          <a:prstGeom prst="roundRect">
            <a:avLst/>
          </a:prstGeom>
          <a:noFill/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450" b="1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68</a:t>
            </a:r>
          </a:p>
        </p:txBody>
      </p:sp>
      <p:sp>
        <p:nvSpPr>
          <p:cNvPr id="517" name="Rektangel: rundade hörn 516">
            <a:extLst>
              <a:ext uri="{FF2B5EF4-FFF2-40B4-BE49-F238E27FC236}">
                <a16:creationId xmlns:a16="http://schemas.microsoft.com/office/drawing/2014/main" id="{0E7B07E7-62EE-C240-5457-436F854021B1}"/>
              </a:ext>
            </a:extLst>
          </p:cNvPr>
          <p:cNvSpPr/>
          <p:nvPr/>
        </p:nvSpPr>
        <p:spPr>
          <a:xfrm>
            <a:off x="1452216" y="4088663"/>
            <a:ext cx="819497" cy="108000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21500" tIns="20250" rIns="10125" bIns="20250" rtlCol="0" anchor="ctr">
            <a:normAutofit lnSpcReduction="10000"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defTabSz="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375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[Fokus] Fysisk arbetsmiljö 9</a:t>
            </a:r>
          </a:p>
        </p:txBody>
      </p:sp>
      <p:pic>
        <p:nvPicPr>
          <p:cNvPr id="520" name="New picture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1418244" y="1517654"/>
            <a:ext cx="94500" cy="94500"/>
          </a:xfrm>
          <a:prstGeom prst="rect">
            <a:avLst/>
          </a:prstGeom>
        </p:spPr>
      </p:pic>
      <p:pic>
        <p:nvPicPr>
          <p:cNvPr id="521" name="New picture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1418244" y="1642855"/>
            <a:ext cx="94500" cy="94500"/>
          </a:xfrm>
          <a:prstGeom prst="rect">
            <a:avLst/>
          </a:prstGeom>
        </p:spPr>
      </p:pic>
      <p:pic>
        <p:nvPicPr>
          <p:cNvPr id="522" name="New picture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1418244" y="1768056"/>
            <a:ext cx="94500" cy="94500"/>
          </a:xfrm>
          <a:prstGeom prst="rect">
            <a:avLst/>
          </a:prstGeom>
        </p:spPr>
      </p:pic>
      <p:pic>
        <p:nvPicPr>
          <p:cNvPr id="523" name="New picture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1418244" y="1893257"/>
            <a:ext cx="94500" cy="94500"/>
          </a:xfrm>
          <a:prstGeom prst="rect">
            <a:avLst/>
          </a:prstGeom>
        </p:spPr>
      </p:pic>
      <p:pic>
        <p:nvPicPr>
          <p:cNvPr id="524" name="New picture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1418244" y="2018459"/>
            <a:ext cx="94500" cy="94500"/>
          </a:xfrm>
          <a:prstGeom prst="rect">
            <a:avLst/>
          </a:prstGeom>
        </p:spPr>
      </p:pic>
      <p:pic>
        <p:nvPicPr>
          <p:cNvPr id="525" name="New picture"/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1418244" y="2143660"/>
            <a:ext cx="94500" cy="94500"/>
          </a:xfrm>
          <a:prstGeom prst="rect">
            <a:avLst/>
          </a:prstGeom>
        </p:spPr>
      </p:pic>
      <p:pic>
        <p:nvPicPr>
          <p:cNvPr id="526" name="New picture"/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1418244" y="2268861"/>
            <a:ext cx="94500" cy="94500"/>
          </a:xfrm>
          <a:prstGeom prst="rect">
            <a:avLst/>
          </a:prstGeom>
        </p:spPr>
      </p:pic>
      <p:pic>
        <p:nvPicPr>
          <p:cNvPr id="527" name="New picture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1418244" y="2394062"/>
            <a:ext cx="94500" cy="94500"/>
          </a:xfrm>
          <a:prstGeom prst="rect">
            <a:avLst/>
          </a:prstGeom>
        </p:spPr>
      </p:pic>
      <p:pic>
        <p:nvPicPr>
          <p:cNvPr id="528" name="New picture"/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1418244" y="2519264"/>
            <a:ext cx="94500" cy="94500"/>
          </a:xfrm>
          <a:prstGeom prst="rect">
            <a:avLst/>
          </a:prstGeom>
        </p:spPr>
      </p:pic>
      <p:pic>
        <p:nvPicPr>
          <p:cNvPr id="529" name="New picture"/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1418244" y="2644465"/>
            <a:ext cx="94500" cy="945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1193123" y="1361898"/>
            <a:ext cx="5310076" cy="142658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1193123" y="2805441"/>
            <a:ext cx="5310076" cy="1719221"/>
          </a:xfrm>
          <a:prstGeom prst="rect">
            <a:avLst/>
          </a:prstGeom>
        </p:spPr>
      </p:pic>
      <p:sp>
        <p:nvSpPr>
          <p:cNvPr id="8" name="Oval 7"/>
          <p:cNvSpPr/>
          <p:nvPr/>
        </p:nvSpPr>
        <p:spPr>
          <a:xfrm>
            <a:off x="552441" y="2272689"/>
            <a:ext cx="510915" cy="479650"/>
          </a:xfrm>
          <a:prstGeom prst="ellipse">
            <a:avLst/>
          </a:pr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000" dirty="0"/>
          </a:p>
        </p:txBody>
      </p:sp>
    </p:spTree>
    <p:extLst>
      <p:ext uri="{BB962C8B-B14F-4D97-AF65-F5344CB8AC3E}">
        <p14:creationId xmlns:p14="http://schemas.microsoft.com/office/powerpoint/2010/main" val="202667290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2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7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22A9A3-8636-4A04-BD48-3153280FB086}" type="slidenum">
              <a:rPr lang="sv-SE" smtClean="0"/>
              <a:t>24</a:t>
            </a:fld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E91D87-1285-6843-BFFA-E098C31F828A}" type="datetime1">
              <a:rPr lang="sv-SE" smtClean="0"/>
              <a:t>2023-09-12</a:t>
            </a:fld>
            <a:endParaRPr lang="sv-SE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TextBox 5"/>
          <p:cNvSpPr txBox="1"/>
          <p:nvPr/>
        </p:nvSpPr>
        <p:spPr>
          <a:xfrm>
            <a:off x="1867723" y="1957012"/>
            <a:ext cx="2718565" cy="8309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sv-SE" sz="5400" b="1" dirty="0" smtClean="0"/>
              <a:t>Topp tre</a:t>
            </a:r>
            <a:endParaRPr lang="sv-SE" sz="5400" b="1" dirty="0"/>
          </a:p>
        </p:txBody>
      </p:sp>
    </p:spTree>
    <p:extLst>
      <p:ext uri="{BB962C8B-B14F-4D97-AF65-F5344CB8AC3E}">
        <p14:creationId xmlns:p14="http://schemas.microsoft.com/office/powerpoint/2010/main" val="33680538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nummer 1">
            <a:extLst>
              <a:ext uri="{FF2B5EF4-FFF2-40B4-BE49-F238E27FC236}">
                <a16:creationId xmlns:a16="http://schemas.microsoft.com/office/drawing/2014/main" id="{54E2D41F-25B6-A47E-1616-BCEB35BEA2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422A9A3-8636-4A04-BD48-3153280FB086}" type="slidenum">
              <a:rPr lang="sv-SE">
                <a:solidFill>
                  <a:srgbClr val="000000">
                    <a:tint val="75000"/>
                  </a:srgbClr>
                </a:solidFill>
                <a:latin typeface="Arial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5</a:t>
            </a:fld>
            <a:endParaRPr lang="sv-SE">
              <a:solidFill>
                <a:srgbClr val="000000">
                  <a:tint val="75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82BC58BF-6655-FD31-5B11-27FF2CC9BC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CCE91D87-1285-6843-BFFA-E098C31F828A}" type="datetime1">
              <a:rPr lang="sv-SE">
                <a:solidFill>
                  <a:srgbClr val="000000">
                    <a:tint val="75000"/>
                  </a:srgbClr>
                </a:solidFill>
                <a:latin typeface="Arial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3-09-12</a:t>
            </a:fld>
            <a:endParaRPr lang="sv-SE">
              <a:solidFill>
                <a:srgbClr val="000000">
                  <a:tint val="75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5" name="Rubrik 4">
            <a:extLst>
              <a:ext uri="{FF2B5EF4-FFF2-40B4-BE49-F238E27FC236}">
                <a16:creationId xmlns:a16="http://schemas.microsoft.com/office/drawing/2014/main" id="{4A53245C-68FA-2312-C7CF-24F7E4D6D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kludering: 81 / 100</a:t>
            </a:r>
          </a:p>
        </p:txBody>
      </p:sp>
      <p:sp>
        <p:nvSpPr>
          <p:cNvPr id="318" name="Rubrik 4">
            <a:extLst>
              <a:ext uri="{FF2B5EF4-FFF2-40B4-BE49-F238E27FC236}">
                <a16:creationId xmlns:a16="http://schemas.microsoft.com/office/drawing/2014/main" id="{73C33D2D-F8AB-A3A0-2706-F4E3D9F2C286}"/>
              </a:ext>
            </a:extLst>
          </p:cNvPr>
          <p:cNvSpPr txBox="1"/>
          <p:nvPr/>
        </p:nvSpPr>
        <p:spPr>
          <a:xfrm>
            <a:off x="850260" y="1196222"/>
            <a:ext cx="5822896" cy="29825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14350" fontAlgn="auto">
              <a:spcAft>
                <a:spcPts val="0"/>
              </a:spcAft>
            </a:pPr>
            <a:r>
              <a:rPr lang="en-US" sz="1125" b="0">
                <a:solidFill>
                  <a:srgbClr val="000000"/>
                </a:solidFill>
                <a:latin typeface="Arial"/>
                <a:cs typeface="Arial"/>
              </a:rPr>
              <a:t>'Jag känner gemenskap på arbetsplatsen'</a:t>
            </a:r>
          </a:p>
        </p:txBody>
      </p:sp>
      <p:sp>
        <p:nvSpPr>
          <p:cNvPr id="264" name="Rektangel: rundade hörn 263">
            <a:extLst>
              <a:ext uri="{FF2B5EF4-FFF2-40B4-BE49-F238E27FC236}">
                <a16:creationId xmlns:a16="http://schemas.microsoft.com/office/drawing/2014/main" id="{94C18F0C-33EA-BF62-00AA-6BF77CB14A12}"/>
              </a:ext>
            </a:extLst>
          </p:cNvPr>
          <p:cNvSpPr/>
          <p:nvPr/>
        </p:nvSpPr>
        <p:spPr>
          <a:xfrm>
            <a:off x="471488" y="1532891"/>
            <a:ext cx="2896958" cy="2613342"/>
          </a:xfrm>
          <a:prstGeom prst="roundRect">
            <a:avLst>
              <a:gd name="adj" fmla="val 1816"/>
            </a:avLst>
          </a:prstGeom>
          <a:noFill/>
          <a:ln w="2857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</a:pPr>
            <a:endParaRPr lang="sv-SE" sz="760">
              <a:solidFill>
                <a:srgbClr val="000000"/>
              </a:solidFill>
              <a:cs typeface="Arial"/>
            </a:endParaRPr>
          </a:p>
        </p:txBody>
      </p:sp>
      <p:sp>
        <p:nvSpPr>
          <p:cNvPr id="265" name="Rektangel: rundade hörn 264">
            <a:extLst>
              <a:ext uri="{FF2B5EF4-FFF2-40B4-BE49-F238E27FC236}">
                <a16:creationId xmlns:a16="http://schemas.microsoft.com/office/drawing/2014/main" id="{7BA446F5-192D-A008-9E9F-99815E1E6959}"/>
              </a:ext>
            </a:extLst>
          </p:cNvPr>
          <p:cNvSpPr/>
          <p:nvPr/>
        </p:nvSpPr>
        <p:spPr>
          <a:xfrm>
            <a:off x="1519444" y="1454371"/>
            <a:ext cx="797505" cy="150567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2857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01250" tIns="10125" rIns="101250" bIns="10125" rtlCol="0" anchor="ctr">
            <a:sp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</a:pPr>
            <a:r>
              <a:rPr lang="sv-SE" sz="563" b="1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Svarsfördelning</a:t>
            </a:r>
          </a:p>
        </p:txBody>
      </p:sp>
      <p:graphicFrame>
        <p:nvGraphicFramePr>
          <p:cNvPr id="266" name="Chart 24">
            <a:extLst>
              <a:ext uri="{FF2B5EF4-FFF2-40B4-BE49-F238E27FC236}">
                <a16:creationId xmlns:a16="http://schemas.microsoft.com/office/drawing/2014/main" id="{29508722-A7C9-022A-D505-2358F818F020}"/>
              </a:ext>
            </a:extLst>
          </p:cNvPr>
          <p:cNvGraphicFramePr/>
          <p:nvPr>
            <p:extLst/>
          </p:nvPr>
        </p:nvGraphicFramePr>
        <p:xfrm>
          <a:off x="471275" y="1673168"/>
          <a:ext cx="2926422" cy="23301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67" name="Rektangel: rundade hörn 266">
            <a:extLst>
              <a:ext uri="{FF2B5EF4-FFF2-40B4-BE49-F238E27FC236}">
                <a16:creationId xmlns:a16="http://schemas.microsoft.com/office/drawing/2014/main" id="{4B7CEC0B-D326-18B3-AD70-10235FAC8E41}"/>
              </a:ext>
            </a:extLst>
          </p:cNvPr>
          <p:cNvSpPr/>
          <p:nvPr/>
        </p:nvSpPr>
        <p:spPr>
          <a:xfrm>
            <a:off x="3489555" y="1532891"/>
            <a:ext cx="2896958" cy="2613342"/>
          </a:xfrm>
          <a:prstGeom prst="roundRect">
            <a:avLst>
              <a:gd name="adj" fmla="val 1816"/>
            </a:avLst>
          </a:prstGeom>
          <a:noFill/>
          <a:ln w="2857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</a:pPr>
            <a:endParaRPr lang="sv-SE" sz="760">
              <a:solidFill>
                <a:srgbClr val="000000"/>
              </a:solidFill>
              <a:cs typeface="Arial"/>
            </a:endParaRPr>
          </a:p>
        </p:txBody>
      </p:sp>
      <p:sp>
        <p:nvSpPr>
          <p:cNvPr id="268" name="Rektangel: rundade hörn 267">
            <a:extLst>
              <a:ext uri="{FF2B5EF4-FFF2-40B4-BE49-F238E27FC236}">
                <a16:creationId xmlns:a16="http://schemas.microsoft.com/office/drawing/2014/main" id="{61C7A89C-1D73-2E4A-C0C8-DFCA4903FB63}"/>
              </a:ext>
            </a:extLst>
          </p:cNvPr>
          <p:cNvSpPr/>
          <p:nvPr/>
        </p:nvSpPr>
        <p:spPr>
          <a:xfrm>
            <a:off x="4461886" y="1454482"/>
            <a:ext cx="948752" cy="150567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2857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01250" tIns="10125" rIns="101250" bIns="10125" rtlCol="0" anchor="ctr">
            <a:sp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</a:pPr>
            <a:r>
              <a:rPr lang="sv-SE" sz="563" b="1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Tidslinje för resultat</a:t>
            </a:r>
          </a:p>
        </p:txBody>
      </p:sp>
      <p:graphicFrame>
        <p:nvGraphicFramePr>
          <p:cNvPr id="269" name="Chart 11">
            <a:extLst>
              <a:ext uri="{FF2B5EF4-FFF2-40B4-BE49-F238E27FC236}">
                <a16:creationId xmlns:a16="http://schemas.microsoft.com/office/drawing/2014/main" id="{1FB872A8-EE5F-4F0F-B36C-DAF3F991C3B4}"/>
              </a:ext>
            </a:extLst>
          </p:cNvPr>
          <p:cNvGraphicFramePr/>
          <p:nvPr>
            <p:extLst/>
          </p:nvPr>
        </p:nvGraphicFramePr>
        <p:xfrm>
          <a:off x="3489554" y="1553153"/>
          <a:ext cx="2896959" cy="25759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270" name="Grupp 269" descr="scope_icon">
            <a:extLst>
              <a:ext uri="{FF2B5EF4-FFF2-40B4-BE49-F238E27FC236}">
                <a16:creationId xmlns:a16="http://schemas.microsoft.com/office/drawing/2014/main" id="{E47FABD1-ACA6-9B47-3365-5D701290A313}"/>
              </a:ext>
            </a:extLst>
          </p:cNvPr>
          <p:cNvGrpSpPr/>
          <p:nvPr/>
        </p:nvGrpSpPr>
        <p:grpSpPr>
          <a:xfrm>
            <a:off x="4079111" y="1640607"/>
            <a:ext cx="228198" cy="50625"/>
            <a:chOff x="6111025" y="6497468"/>
            <a:chExt cx="405685" cy="90000"/>
          </a:xfrm>
        </p:grpSpPr>
        <p:cxnSp>
          <p:nvCxnSpPr>
            <p:cNvPr id="271" name="Rak koppling 270">
              <a:extLst>
                <a:ext uri="{FF2B5EF4-FFF2-40B4-BE49-F238E27FC236}">
                  <a16:creationId xmlns:a16="http://schemas.microsoft.com/office/drawing/2014/main" id="{E53DC10E-D490-120C-2F80-78124418044B}"/>
                </a:ext>
              </a:extLst>
            </p:cNvPr>
            <p:cNvCxnSpPr/>
            <p:nvPr/>
          </p:nvCxnSpPr>
          <p:spPr>
            <a:xfrm>
              <a:off x="6111025" y="6542468"/>
              <a:ext cx="405685" cy="0"/>
            </a:xfrm>
            <a:prstGeom prst="line">
              <a:avLst/>
            </a:prstGeom>
            <a:ln w="19050"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2" name="Ellips 271">
              <a:extLst>
                <a:ext uri="{FF2B5EF4-FFF2-40B4-BE49-F238E27FC236}">
                  <a16:creationId xmlns:a16="http://schemas.microsoft.com/office/drawing/2014/main" id="{C3FA065E-7ECB-2971-983C-3F2B6B9623D7}"/>
                </a:ext>
              </a:extLst>
            </p:cNvPr>
            <p:cNvSpPr/>
            <p:nvPr/>
          </p:nvSpPr>
          <p:spPr>
            <a:xfrm>
              <a:off x="6268867" y="6497468"/>
              <a:ext cx="90000" cy="90000"/>
            </a:xfrm>
            <a:prstGeom prst="ellipse">
              <a:avLst/>
            </a:prstGeom>
            <a:solidFill>
              <a:srgbClr val="FAFAFA"/>
            </a:solidFill>
            <a:ln w="1905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algn="ctr"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cs typeface="Arial"/>
              </a:endParaRPr>
            </a:p>
          </p:txBody>
        </p:sp>
      </p:grpSp>
      <p:grpSp>
        <p:nvGrpSpPr>
          <p:cNvPr id="273" name="Grupp 272" descr="benchmark_icon">
            <a:extLst>
              <a:ext uri="{FF2B5EF4-FFF2-40B4-BE49-F238E27FC236}">
                <a16:creationId xmlns:a16="http://schemas.microsoft.com/office/drawing/2014/main" id="{D1745155-3AE9-B193-FD12-2977780AF5C5}"/>
              </a:ext>
            </a:extLst>
          </p:cNvPr>
          <p:cNvGrpSpPr/>
          <p:nvPr/>
        </p:nvGrpSpPr>
        <p:grpSpPr>
          <a:xfrm>
            <a:off x="5066079" y="1640607"/>
            <a:ext cx="228198" cy="50625"/>
            <a:chOff x="6111025" y="6497468"/>
            <a:chExt cx="405685" cy="90000"/>
          </a:xfrm>
        </p:grpSpPr>
        <p:cxnSp>
          <p:nvCxnSpPr>
            <p:cNvPr id="274" name="Rak koppling 273">
              <a:extLst>
                <a:ext uri="{FF2B5EF4-FFF2-40B4-BE49-F238E27FC236}">
                  <a16:creationId xmlns:a16="http://schemas.microsoft.com/office/drawing/2014/main" id="{95138E88-B4DC-3B16-3156-BE4A246F1B0B}"/>
                </a:ext>
              </a:extLst>
            </p:cNvPr>
            <p:cNvCxnSpPr/>
            <p:nvPr/>
          </p:nvCxnSpPr>
          <p:spPr>
            <a:xfrm>
              <a:off x="6111025" y="6542468"/>
              <a:ext cx="405685" cy="0"/>
            </a:xfrm>
            <a:prstGeom prst="line">
              <a:avLst/>
            </a:prstGeom>
            <a:ln w="19050">
              <a:solidFill>
                <a:srgbClr val="BFBFBF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5" name="Ellips 274">
              <a:extLst>
                <a:ext uri="{FF2B5EF4-FFF2-40B4-BE49-F238E27FC236}">
                  <a16:creationId xmlns:a16="http://schemas.microsoft.com/office/drawing/2014/main" id="{33B23ACD-92B8-832D-247C-26474A5D5347}"/>
                </a:ext>
              </a:extLst>
            </p:cNvPr>
            <p:cNvSpPr/>
            <p:nvPr/>
          </p:nvSpPr>
          <p:spPr>
            <a:xfrm>
              <a:off x="6268867" y="6497468"/>
              <a:ext cx="90000" cy="90000"/>
            </a:xfrm>
            <a:prstGeom prst="ellipse">
              <a:avLst/>
            </a:prstGeom>
            <a:solidFill>
              <a:srgbClr val="FAFAFA"/>
            </a:solidFill>
            <a:ln w="19050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algn="ctr"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cs typeface="Arial"/>
              </a:endParaRPr>
            </a:p>
          </p:txBody>
        </p:sp>
      </p:grpSp>
      <p:sp>
        <p:nvSpPr>
          <p:cNvPr id="276" name="textruta 275">
            <a:extLst>
              <a:ext uri="{FF2B5EF4-FFF2-40B4-BE49-F238E27FC236}">
                <a16:creationId xmlns:a16="http://schemas.microsoft.com/office/drawing/2014/main" id="{E10D9278-F80D-4A76-2EE8-8E6CFC243319}"/>
              </a:ext>
            </a:extLst>
          </p:cNvPr>
          <p:cNvSpPr txBox="1"/>
          <p:nvPr/>
        </p:nvSpPr>
        <p:spPr>
          <a:xfrm>
            <a:off x="4307309" y="1605170"/>
            <a:ext cx="745569" cy="121500"/>
          </a:xfrm>
          <a:prstGeom prst="rect">
            <a:avLst/>
          </a:prstGeom>
          <a:noFill/>
        </p:spPr>
        <p:txBody>
          <a:bodyPr wrap="square" tIns="0" bIns="0" rtlCol="0" anchor="ctr">
            <a:norm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14350" fontAlgn="auto">
              <a:spcBef>
                <a:spcPts val="0"/>
              </a:spcBef>
              <a:spcAft>
                <a:spcPts val="0"/>
              </a:spcAft>
            </a:pPr>
            <a:r>
              <a:rPr lang="sv-SE" sz="394">
                <a:solidFill>
                  <a:srgbClr val="000000"/>
                </a:solidFill>
                <a:latin typeface="Arial"/>
                <a:ea typeface="Roboto" panose="02000000000000000000" pitchFamily="2" charset="0"/>
                <a:cs typeface="Arial"/>
              </a:rPr>
              <a:t>Verksamhetsstöd - SCI</a:t>
            </a:r>
          </a:p>
        </p:txBody>
      </p:sp>
      <p:sp>
        <p:nvSpPr>
          <p:cNvPr id="277" name="textruta 276">
            <a:extLst>
              <a:ext uri="{FF2B5EF4-FFF2-40B4-BE49-F238E27FC236}">
                <a16:creationId xmlns:a16="http://schemas.microsoft.com/office/drawing/2014/main" id="{C0C01BBD-AFAB-BC7A-900B-192CD2DC1177}"/>
              </a:ext>
            </a:extLst>
          </p:cNvPr>
          <p:cNvSpPr txBox="1"/>
          <p:nvPr/>
        </p:nvSpPr>
        <p:spPr>
          <a:xfrm>
            <a:off x="5294276" y="1605170"/>
            <a:ext cx="745569" cy="121500"/>
          </a:xfrm>
          <a:prstGeom prst="rect">
            <a:avLst/>
          </a:prstGeom>
          <a:noFill/>
        </p:spPr>
        <p:txBody>
          <a:bodyPr wrap="square" tIns="0" bIns="0" rtlCol="0" anchor="ctr">
            <a:norm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700" kern="120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14350" fontAlgn="auto">
              <a:spcBef>
                <a:spcPts val="0"/>
              </a:spcBef>
              <a:spcAft>
                <a:spcPts val="0"/>
              </a:spcAft>
            </a:pPr>
            <a:r>
              <a:rPr lang="sv-SE" sz="394">
                <a:solidFill>
                  <a:srgbClr val="000000"/>
                </a:solidFill>
                <a:latin typeface="Arial"/>
                <a:cs typeface="Arial"/>
              </a:rPr>
              <a:t>VS - Verksamhetsstöd</a:t>
            </a:r>
          </a:p>
        </p:txBody>
      </p:sp>
      <p:pic>
        <p:nvPicPr>
          <p:cNvPr id="319" name="New picture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01885" y="829109"/>
            <a:ext cx="348950" cy="348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91366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nummer 1">
            <a:extLst>
              <a:ext uri="{FF2B5EF4-FFF2-40B4-BE49-F238E27FC236}">
                <a16:creationId xmlns:a16="http://schemas.microsoft.com/office/drawing/2014/main" id="{54E2D41F-25B6-A47E-1616-BCEB35BEA2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422A9A3-8636-4A04-BD48-3153280FB086}" type="slidenum">
              <a:rPr lang="sv-SE">
                <a:solidFill>
                  <a:srgbClr val="000000">
                    <a:tint val="75000"/>
                  </a:srgbClr>
                </a:solidFill>
                <a:latin typeface="Arial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6</a:t>
            </a:fld>
            <a:endParaRPr lang="sv-SE">
              <a:solidFill>
                <a:srgbClr val="000000">
                  <a:tint val="75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82BC58BF-6655-FD31-5B11-27FF2CC9BC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CCE91D87-1285-6843-BFFA-E098C31F828A}" type="datetime1">
              <a:rPr lang="sv-SE">
                <a:solidFill>
                  <a:srgbClr val="000000">
                    <a:tint val="75000"/>
                  </a:srgbClr>
                </a:solidFill>
                <a:latin typeface="Arial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3-09-12</a:t>
            </a:fld>
            <a:endParaRPr lang="sv-SE">
              <a:solidFill>
                <a:srgbClr val="000000">
                  <a:tint val="75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5" name="Rubrik 4">
            <a:extLst>
              <a:ext uri="{FF2B5EF4-FFF2-40B4-BE49-F238E27FC236}">
                <a16:creationId xmlns:a16="http://schemas.microsoft.com/office/drawing/2014/main" id="{4A53245C-68FA-2312-C7CF-24F7E4D6D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ydlighet - Prioriteringar: 72 / 100</a:t>
            </a:r>
          </a:p>
        </p:txBody>
      </p:sp>
      <p:sp>
        <p:nvSpPr>
          <p:cNvPr id="318" name="Rubrik 4">
            <a:extLst>
              <a:ext uri="{FF2B5EF4-FFF2-40B4-BE49-F238E27FC236}">
                <a16:creationId xmlns:a16="http://schemas.microsoft.com/office/drawing/2014/main" id="{73C33D2D-F8AB-A3A0-2706-F4E3D9F2C286}"/>
              </a:ext>
            </a:extLst>
          </p:cNvPr>
          <p:cNvSpPr txBox="1"/>
          <p:nvPr/>
        </p:nvSpPr>
        <p:spPr>
          <a:xfrm>
            <a:off x="850260" y="1196222"/>
            <a:ext cx="5822896" cy="29825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14350" fontAlgn="auto">
              <a:spcAft>
                <a:spcPts val="0"/>
              </a:spcAft>
            </a:pPr>
            <a:r>
              <a:rPr lang="en-US" sz="1125" b="0">
                <a:solidFill>
                  <a:srgbClr val="000000"/>
                </a:solidFill>
                <a:latin typeface="Arial"/>
                <a:cs typeface="Arial"/>
              </a:rPr>
              <a:t>'Min närmsta chef är tydlig med prioriteringar och förväntningar'</a:t>
            </a:r>
          </a:p>
        </p:txBody>
      </p:sp>
      <p:sp>
        <p:nvSpPr>
          <p:cNvPr id="264" name="Rektangel: rundade hörn 263">
            <a:extLst>
              <a:ext uri="{FF2B5EF4-FFF2-40B4-BE49-F238E27FC236}">
                <a16:creationId xmlns:a16="http://schemas.microsoft.com/office/drawing/2014/main" id="{94C18F0C-33EA-BF62-00AA-6BF77CB14A12}"/>
              </a:ext>
            </a:extLst>
          </p:cNvPr>
          <p:cNvSpPr/>
          <p:nvPr/>
        </p:nvSpPr>
        <p:spPr>
          <a:xfrm>
            <a:off x="471488" y="1532891"/>
            <a:ext cx="2896958" cy="2613342"/>
          </a:xfrm>
          <a:prstGeom prst="roundRect">
            <a:avLst>
              <a:gd name="adj" fmla="val 1816"/>
            </a:avLst>
          </a:prstGeom>
          <a:noFill/>
          <a:ln w="2857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</a:pPr>
            <a:endParaRPr lang="sv-SE" sz="760">
              <a:solidFill>
                <a:srgbClr val="000000"/>
              </a:solidFill>
              <a:cs typeface="Arial"/>
            </a:endParaRPr>
          </a:p>
        </p:txBody>
      </p:sp>
      <p:sp>
        <p:nvSpPr>
          <p:cNvPr id="265" name="Rektangel: rundade hörn 264">
            <a:extLst>
              <a:ext uri="{FF2B5EF4-FFF2-40B4-BE49-F238E27FC236}">
                <a16:creationId xmlns:a16="http://schemas.microsoft.com/office/drawing/2014/main" id="{7BA446F5-192D-A008-9E9F-99815E1E6959}"/>
              </a:ext>
            </a:extLst>
          </p:cNvPr>
          <p:cNvSpPr/>
          <p:nvPr/>
        </p:nvSpPr>
        <p:spPr>
          <a:xfrm>
            <a:off x="1519444" y="1454371"/>
            <a:ext cx="797505" cy="150567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2857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01250" tIns="10125" rIns="101250" bIns="10125" rtlCol="0" anchor="ctr">
            <a:sp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</a:pPr>
            <a:r>
              <a:rPr lang="sv-SE" sz="563" b="1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Svarsfördelning</a:t>
            </a:r>
          </a:p>
        </p:txBody>
      </p:sp>
      <p:graphicFrame>
        <p:nvGraphicFramePr>
          <p:cNvPr id="266" name="Chart 24">
            <a:extLst>
              <a:ext uri="{FF2B5EF4-FFF2-40B4-BE49-F238E27FC236}">
                <a16:creationId xmlns:a16="http://schemas.microsoft.com/office/drawing/2014/main" id="{29508722-A7C9-022A-D505-2358F818F020}"/>
              </a:ext>
            </a:extLst>
          </p:cNvPr>
          <p:cNvGraphicFramePr/>
          <p:nvPr>
            <p:extLst/>
          </p:nvPr>
        </p:nvGraphicFramePr>
        <p:xfrm>
          <a:off x="471275" y="1673168"/>
          <a:ext cx="2926422" cy="23301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67" name="Rektangel: rundade hörn 266">
            <a:extLst>
              <a:ext uri="{FF2B5EF4-FFF2-40B4-BE49-F238E27FC236}">
                <a16:creationId xmlns:a16="http://schemas.microsoft.com/office/drawing/2014/main" id="{4B7CEC0B-D326-18B3-AD70-10235FAC8E41}"/>
              </a:ext>
            </a:extLst>
          </p:cNvPr>
          <p:cNvSpPr/>
          <p:nvPr/>
        </p:nvSpPr>
        <p:spPr>
          <a:xfrm>
            <a:off x="3489555" y="1532891"/>
            <a:ext cx="2896958" cy="2613342"/>
          </a:xfrm>
          <a:prstGeom prst="roundRect">
            <a:avLst>
              <a:gd name="adj" fmla="val 1816"/>
            </a:avLst>
          </a:prstGeom>
          <a:noFill/>
          <a:ln w="2857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</a:pPr>
            <a:endParaRPr lang="sv-SE" sz="760">
              <a:solidFill>
                <a:srgbClr val="000000"/>
              </a:solidFill>
              <a:cs typeface="Arial"/>
            </a:endParaRPr>
          </a:p>
        </p:txBody>
      </p:sp>
      <p:sp>
        <p:nvSpPr>
          <p:cNvPr id="268" name="Rektangel: rundade hörn 267">
            <a:extLst>
              <a:ext uri="{FF2B5EF4-FFF2-40B4-BE49-F238E27FC236}">
                <a16:creationId xmlns:a16="http://schemas.microsoft.com/office/drawing/2014/main" id="{61C7A89C-1D73-2E4A-C0C8-DFCA4903FB63}"/>
              </a:ext>
            </a:extLst>
          </p:cNvPr>
          <p:cNvSpPr/>
          <p:nvPr/>
        </p:nvSpPr>
        <p:spPr>
          <a:xfrm>
            <a:off x="4461886" y="1454482"/>
            <a:ext cx="948752" cy="150567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2857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01250" tIns="10125" rIns="101250" bIns="10125" rtlCol="0" anchor="ctr">
            <a:sp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</a:pPr>
            <a:r>
              <a:rPr lang="sv-SE" sz="563" b="1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Tidslinje för resultat</a:t>
            </a:r>
          </a:p>
        </p:txBody>
      </p:sp>
      <p:graphicFrame>
        <p:nvGraphicFramePr>
          <p:cNvPr id="269" name="Chart 11">
            <a:extLst>
              <a:ext uri="{FF2B5EF4-FFF2-40B4-BE49-F238E27FC236}">
                <a16:creationId xmlns:a16="http://schemas.microsoft.com/office/drawing/2014/main" id="{1FB872A8-EE5F-4F0F-B36C-DAF3F991C3B4}"/>
              </a:ext>
            </a:extLst>
          </p:cNvPr>
          <p:cNvGraphicFramePr/>
          <p:nvPr>
            <p:extLst/>
          </p:nvPr>
        </p:nvGraphicFramePr>
        <p:xfrm>
          <a:off x="3489554" y="1553153"/>
          <a:ext cx="2896959" cy="25759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270" name="Grupp 269" descr="scope_icon">
            <a:extLst>
              <a:ext uri="{FF2B5EF4-FFF2-40B4-BE49-F238E27FC236}">
                <a16:creationId xmlns:a16="http://schemas.microsoft.com/office/drawing/2014/main" id="{E47FABD1-ACA6-9B47-3365-5D701290A313}"/>
              </a:ext>
            </a:extLst>
          </p:cNvPr>
          <p:cNvGrpSpPr/>
          <p:nvPr/>
        </p:nvGrpSpPr>
        <p:grpSpPr>
          <a:xfrm>
            <a:off x="4079111" y="1640607"/>
            <a:ext cx="228198" cy="50625"/>
            <a:chOff x="6111025" y="6497468"/>
            <a:chExt cx="405685" cy="90000"/>
          </a:xfrm>
        </p:grpSpPr>
        <p:cxnSp>
          <p:nvCxnSpPr>
            <p:cNvPr id="271" name="Rak koppling 270">
              <a:extLst>
                <a:ext uri="{FF2B5EF4-FFF2-40B4-BE49-F238E27FC236}">
                  <a16:creationId xmlns:a16="http://schemas.microsoft.com/office/drawing/2014/main" id="{E53DC10E-D490-120C-2F80-78124418044B}"/>
                </a:ext>
              </a:extLst>
            </p:cNvPr>
            <p:cNvCxnSpPr/>
            <p:nvPr/>
          </p:nvCxnSpPr>
          <p:spPr>
            <a:xfrm>
              <a:off x="6111025" y="6542468"/>
              <a:ext cx="405685" cy="0"/>
            </a:xfrm>
            <a:prstGeom prst="line">
              <a:avLst/>
            </a:prstGeom>
            <a:ln w="19050"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2" name="Ellips 271">
              <a:extLst>
                <a:ext uri="{FF2B5EF4-FFF2-40B4-BE49-F238E27FC236}">
                  <a16:creationId xmlns:a16="http://schemas.microsoft.com/office/drawing/2014/main" id="{C3FA065E-7ECB-2971-983C-3F2B6B9623D7}"/>
                </a:ext>
              </a:extLst>
            </p:cNvPr>
            <p:cNvSpPr/>
            <p:nvPr/>
          </p:nvSpPr>
          <p:spPr>
            <a:xfrm>
              <a:off x="6268867" y="6497468"/>
              <a:ext cx="90000" cy="90000"/>
            </a:xfrm>
            <a:prstGeom prst="ellipse">
              <a:avLst/>
            </a:prstGeom>
            <a:solidFill>
              <a:srgbClr val="FAFAFA"/>
            </a:solidFill>
            <a:ln w="1905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algn="ctr"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cs typeface="Arial"/>
              </a:endParaRPr>
            </a:p>
          </p:txBody>
        </p:sp>
      </p:grpSp>
      <p:grpSp>
        <p:nvGrpSpPr>
          <p:cNvPr id="273" name="Grupp 272" descr="benchmark_icon">
            <a:extLst>
              <a:ext uri="{FF2B5EF4-FFF2-40B4-BE49-F238E27FC236}">
                <a16:creationId xmlns:a16="http://schemas.microsoft.com/office/drawing/2014/main" id="{D1745155-3AE9-B193-FD12-2977780AF5C5}"/>
              </a:ext>
            </a:extLst>
          </p:cNvPr>
          <p:cNvGrpSpPr/>
          <p:nvPr/>
        </p:nvGrpSpPr>
        <p:grpSpPr>
          <a:xfrm>
            <a:off x="5066079" y="1640607"/>
            <a:ext cx="228198" cy="50625"/>
            <a:chOff x="6111025" y="6497468"/>
            <a:chExt cx="405685" cy="90000"/>
          </a:xfrm>
        </p:grpSpPr>
        <p:cxnSp>
          <p:nvCxnSpPr>
            <p:cNvPr id="274" name="Rak koppling 273">
              <a:extLst>
                <a:ext uri="{FF2B5EF4-FFF2-40B4-BE49-F238E27FC236}">
                  <a16:creationId xmlns:a16="http://schemas.microsoft.com/office/drawing/2014/main" id="{95138E88-B4DC-3B16-3156-BE4A246F1B0B}"/>
                </a:ext>
              </a:extLst>
            </p:cNvPr>
            <p:cNvCxnSpPr/>
            <p:nvPr/>
          </p:nvCxnSpPr>
          <p:spPr>
            <a:xfrm>
              <a:off x="6111025" y="6542468"/>
              <a:ext cx="405685" cy="0"/>
            </a:xfrm>
            <a:prstGeom prst="line">
              <a:avLst/>
            </a:prstGeom>
            <a:ln w="19050">
              <a:solidFill>
                <a:srgbClr val="BFBFBF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5" name="Ellips 274">
              <a:extLst>
                <a:ext uri="{FF2B5EF4-FFF2-40B4-BE49-F238E27FC236}">
                  <a16:creationId xmlns:a16="http://schemas.microsoft.com/office/drawing/2014/main" id="{33B23ACD-92B8-832D-247C-26474A5D5347}"/>
                </a:ext>
              </a:extLst>
            </p:cNvPr>
            <p:cNvSpPr/>
            <p:nvPr/>
          </p:nvSpPr>
          <p:spPr>
            <a:xfrm>
              <a:off x="6268867" y="6497468"/>
              <a:ext cx="90000" cy="90000"/>
            </a:xfrm>
            <a:prstGeom prst="ellipse">
              <a:avLst/>
            </a:prstGeom>
            <a:solidFill>
              <a:srgbClr val="FAFAFA"/>
            </a:solidFill>
            <a:ln w="19050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algn="ctr"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cs typeface="Arial"/>
              </a:endParaRPr>
            </a:p>
          </p:txBody>
        </p:sp>
      </p:grpSp>
      <p:sp>
        <p:nvSpPr>
          <p:cNvPr id="276" name="textruta 275">
            <a:extLst>
              <a:ext uri="{FF2B5EF4-FFF2-40B4-BE49-F238E27FC236}">
                <a16:creationId xmlns:a16="http://schemas.microsoft.com/office/drawing/2014/main" id="{E10D9278-F80D-4A76-2EE8-8E6CFC243319}"/>
              </a:ext>
            </a:extLst>
          </p:cNvPr>
          <p:cNvSpPr txBox="1"/>
          <p:nvPr/>
        </p:nvSpPr>
        <p:spPr>
          <a:xfrm>
            <a:off x="4307309" y="1605170"/>
            <a:ext cx="745569" cy="121500"/>
          </a:xfrm>
          <a:prstGeom prst="rect">
            <a:avLst/>
          </a:prstGeom>
          <a:noFill/>
        </p:spPr>
        <p:txBody>
          <a:bodyPr wrap="square" tIns="0" bIns="0" rtlCol="0" anchor="ctr">
            <a:norm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14350" fontAlgn="auto">
              <a:spcBef>
                <a:spcPts val="0"/>
              </a:spcBef>
              <a:spcAft>
                <a:spcPts val="0"/>
              </a:spcAft>
            </a:pPr>
            <a:r>
              <a:rPr lang="sv-SE" sz="394">
                <a:solidFill>
                  <a:srgbClr val="000000"/>
                </a:solidFill>
                <a:latin typeface="Arial"/>
                <a:ea typeface="Roboto" panose="02000000000000000000" pitchFamily="2" charset="0"/>
                <a:cs typeface="Arial"/>
              </a:rPr>
              <a:t>Verksamhetsstöd - SCI</a:t>
            </a:r>
          </a:p>
        </p:txBody>
      </p:sp>
      <p:sp>
        <p:nvSpPr>
          <p:cNvPr id="277" name="textruta 276">
            <a:extLst>
              <a:ext uri="{FF2B5EF4-FFF2-40B4-BE49-F238E27FC236}">
                <a16:creationId xmlns:a16="http://schemas.microsoft.com/office/drawing/2014/main" id="{C0C01BBD-AFAB-BC7A-900B-192CD2DC1177}"/>
              </a:ext>
            </a:extLst>
          </p:cNvPr>
          <p:cNvSpPr txBox="1"/>
          <p:nvPr/>
        </p:nvSpPr>
        <p:spPr>
          <a:xfrm>
            <a:off x="5294276" y="1605170"/>
            <a:ext cx="745569" cy="121500"/>
          </a:xfrm>
          <a:prstGeom prst="rect">
            <a:avLst/>
          </a:prstGeom>
          <a:noFill/>
        </p:spPr>
        <p:txBody>
          <a:bodyPr wrap="square" tIns="0" bIns="0" rtlCol="0" anchor="ctr">
            <a:norm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700" kern="120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14350" fontAlgn="auto">
              <a:spcBef>
                <a:spcPts val="0"/>
              </a:spcBef>
              <a:spcAft>
                <a:spcPts val="0"/>
              </a:spcAft>
            </a:pPr>
            <a:r>
              <a:rPr lang="sv-SE" sz="394">
                <a:solidFill>
                  <a:srgbClr val="000000"/>
                </a:solidFill>
                <a:latin typeface="Arial"/>
                <a:cs typeface="Arial"/>
              </a:rPr>
              <a:t>VS - Verksamhetsstöd</a:t>
            </a:r>
          </a:p>
        </p:txBody>
      </p:sp>
      <p:pic>
        <p:nvPicPr>
          <p:cNvPr id="319" name="New picture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01885" y="829109"/>
            <a:ext cx="348950" cy="348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393622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nummer 1">
            <a:extLst>
              <a:ext uri="{FF2B5EF4-FFF2-40B4-BE49-F238E27FC236}">
                <a16:creationId xmlns:a16="http://schemas.microsoft.com/office/drawing/2014/main" id="{54E2D41F-25B6-A47E-1616-BCEB35BEA2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422A9A3-8636-4A04-BD48-3153280FB086}" type="slidenum">
              <a:rPr lang="sv-SE">
                <a:solidFill>
                  <a:srgbClr val="000000">
                    <a:tint val="75000"/>
                  </a:srgbClr>
                </a:solidFill>
                <a:latin typeface="Arial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7</a:t>
            </a:fld>
            <a:endParaRPr lang="sv-SE">
              <a:solidFill>
                <a:srgbClr val="000000">
                  <a:tint val="75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82BC58BF-6655-FD31-5B11-27FF2CC9BC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CCE91D87-1285-6843-BFFA-E098C31F828A}" type="datetime1">
              <a:rPr lang="sv-SE">
                <a:solidFill>
                  <a:srgbClr val="000000">
                    <a:tint val="75000"/>
                  </a:srgbClr>
                </a:solidFill>
                <a:latin typeface="Arial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3-09-12</a:t>
            </a:fld>
            <a:endParaRPr lang="sv-SE">
              <a:solidFill>
                <a:srgbClr val="000000">
                  <a:tint val="75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5" name="Rubrik 4">
            <a:extLst>
              <a:ext uri="{FF2B5EF4-FFF2-40B4-BE49-F238E27FC236}">
                <a16:creationId xmlns:a16="http://schemas.microsoft.com/office/drawing/2014/main" id="{4A53245C-68FA-2312-C7CF-24F7E4D6D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ppskattning: 73 / 100</a:t>
            </a:r>
          </a:p>
        </p:txBody>
      </p:sp>
      <p:sp>
        <p:nvSpPr>
          <p:cNvPr id="318" name="Rubrik 4">
            <a:extLst>
              <a:ext uri="{FF2B5EF4-FFF2-40B4-BE49-F238E27FC236}">
                <a16:creationId xmlns:a16="http://schemas.microsoft.com/office/drawing/2014/main" id="{73C33D2D-F8AB-A3A0-2706-F4E3D9F2C286}"/>
              </a:ext>
            </a:extLst>
          </p:cNvPr>
          <p:cNvSpPr txBox="1"/>
          <p:nvPr/>
        </p:nvSpPr>
        <p:spPr>
          <a:xfrm>
            <a:off x="850260" y="1196222"/>
            <a:ext cx="5822896" cy="29825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14350" fontAlgn="auto">
              <a:spcAft>
                <a:spcPts val="0"/>
              </a:spcAft>
            </a:pPr>
            <a:r>
              <a:rPr lang="en-US" sz="1125" b="0">
                <a:solidFill>
                  <a:srgbClr val="000000"/>
                </a:solidFill>
                <a:latin typeface="Arial"/>
                <a:cs typeface="Arial"/>
              </a:rPr>
              <a:t>'Jag känner mig uppskattad och uppmärksammad för mitt bidrag till organisationen'</a:t>
            </a:r>
          </a:p>
        </p:txBody>
      </p:sp>
      <p:sp>
        <p:nvSpPr>
          <p:cNvPr id="264" name="Rektangel: rundade hörn 263">
            <a:extLst>
              <a:ext uri="{FF2B5EF4-FFF2-40B4-BE49-F238E27FC236}">
                <a16:creationId xmlns:a16="http://schemas.microsoft.com/office/drawing/2014/main" id="{94C18F0C-33EA-BF62-00AA-6BF77CB14A12}"/>
              </a:ext>
            </a:extLst>
          </p:cNvPr>
          <p:cNvSpPr/>
          <p:nvPr/>
        </p:nvSpPr>
        <p:spPr>
          <a:xfrm>
            <a:off x="471488" y="1532891"/>
            <a:ext cx="2896958" cy="2613342"/>
          </a:xfrm>
          <a:prstGeom prst="roundRect">
            <a:avLst>
              <a:gd name="adj" fmla="val 1816"/>
            </a:avLst>
          </a:prstGeom>
          <a:noFill/>
          <a:ln w="2857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</a:pPr>
            <a:endParaRPr lang="sv-SE" sz="760">
              <a:solidFill>
                <a:srgbClr val="000000"/>
              </a:solidFill>
              <a:cs typeface="Arial"/>
            </a:endParaRPr>
          </a:p>
        </p:txBody>
      </p:sp>
      <p:sp>
        <p:nvSpPr>
          <p:cNvPr id="265" name="Rektangel: rundade hörn 264">
            <a:extLst>
              <a:ext uri="{FF2B5EF4-FFF2-40B4-BE49-F238E27FC236}">
                <a16:creationId xmlns:a16="http://schemas.microsoft.com/office/drawing/2014/main" id="{7BA446F5-192D-A008-9E9F-99815E1E6959}"/>
              </a:ext>
            </a:extLst>
          </p:cNvPr>
          <p:cNvSpPr/>
          <p:nvPr/>
        </p:nvSpPr>
        <p:spPr>
          <a:xfrm>
            <a:off x="1519444" y="1454371"/>
            <a:ext cx="797505" cy="150567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2857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01250" tIns="10125" rIns="101250" bIns="10125" rtlCol="0" anchor="ctr">
            <a:sp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</a:pPr>
            <a:r>
              <a:rPr lang="sv-SE" sz="563" b="1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Svarsfördelning</a:t>
            </a:r>
          </a:p>
        </p:txBody>
      </p:sp>
      <p:graphicFrame>
        <p:nvGraphicFramePr>
          <p:cNvPr id="266" name="Chart 24">
            <a:extLst>
              <a:ext uri="{FF2B5EF4-FFF2-40B4-BE49-F238E27FC236}">
                <a16:creationId xmlns:a16="http://schemas.microsoft.com/office/drawing/2014/main" id="{29508722-A7C9-022A-D505-2358F818F020}"/>
              </a:ext>
            </a:extLst>
          </p:cNvPr>
          <p:cNvGraphicFramePr/>
          <p:nvPr>
            <p:extLst/>
          </p:nvPr>
        </p:nvGraphicFramePr>
        <p:xfrm>
          <a:off x="471275" y="1673168"/>
          <a:ext cx="2926422" cy="23301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67" name="Rektangel: rundade hörn 266">
            <a:extLst>
              <a:ext uri="{FF2B5EF4-FFF2-40B4-BE49-F238E27FC236}">
                <a16:creationId xmlns:a16="http://schemas.microsoft.com/office/drawing/2014/main" id="{4B7CEC0B-D326-18B3-AD70-10235FAC8E41}"/>
              </a:ext>
            </a:extLst>
          </p:cNvPr>
          <p:cNvSpPr/>
          <p:nvPr/>
        </p:nvSpPr>
        <p:spPr>
          <a:xfrm>
            <a:off x="3489555" y="1532891"/>
            <a:ext cx="2896958" cy="2613342"/>
          </a:xfrm>
          <a:prstGeom prst="roundRect">
            <a:avLst>
              <a:gd name="adj" fmla="val 1816"/>
            </a:avLst>
          </a:prstGeom>
          <a:noFill/>
          <a:ln w="2857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</a:pPr>
            <a:endParaRPr lang="sv-SE" sz="760">
              <a:solidFill>
                <a:srgbClr val="000000"/>
              </a:solidFill>
              <a:cs typeface="Arial"/>
            </a:endParaRPr>
          </a:p>
        </p:txBody>
      </p:sp>
      <p:sp>
        <p:nvSpPr>
          <p:cNvPr id="268" name="Rektangel: rundade hörn 267">
            <a:extLst>
              <a:ext uri="{FF2B5EF4-FFF2-40B4-BE49-F238E27FC236}">
                <a16:creationId xmlns:a16="http://schemas.microsoft.com/office/drawing/2014/main" id="{61C7A89C-1D73-2E4A-C0C8-DFCA4903FB63}"/>
              </a:ext>
            </a:extLst>
          </p:cNvPr>
          <p:cNvSpPr/>
          <p:nvPr/>
        </p:nvSpPr>
        <p:spPr>
          <a:xfrm>
            <a:off x="4461886" y="1454482"/>
            <a:ext cx="948752" cy="150567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2857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01250" tIns="10125" rIns="101250" bIns="10125" rtlCol="0" anchor="ctr">
            <a:sp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</a:pPr>
            <a:r>
              <a:rPr lang="sv-SE" sz="563" b="1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Tidslinje för resultat</a:t>
            </a:r>
          </a:p>
        </p:txBody>
      </p:sp>
      <p:graphicFrame>
        <p:nvGraphicFramePr>
          <p:cNvPr id="269" name="Chart 11">
            <a:extLst>
              <a:ext uri="{FF2B5EF4-FFF2-40B4-BE49-F238E27FC236}">
                <a16:creationId xmlns:a16="http://schemas.microsoft.com/office/drawing/2014/main" id="{1FB872A8-EE5F-4F0F-B36C-DAF3F991C3B4}"/>
              </a:ext>
            </a:extLst>
          </p:cNvPr>
          <p:cNvGraphicFramePr/>
          <p:nvPr>
            <p:extLst/>
          </p:nvPr>
        </p:nvGraphicFramePr>
        <p:xfrm>
          <a:off x="3489554" y="1553153"/>
          <a:ext cx="2896959" cy="25759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270" name="Grupp 269" descr="scope_icon">
            <a:extLst>
              <a:ext uri="{FF2B5EF4-FFF2-40B4-BE49-F238E27FC236}">
                <a16:creationId xmlns:a16="http://schemas.microsoft.com/office/drawing/2014/main" id="{E47FABD1-ACA6-9B47-3365-5D701290A313}"/>
              </a:ext>
            </a:extLst>
          </p:cNvPr>
          <p:cNvGrpSpPr/>
          <p:nvPr/>
        </p:nvGrpSpPr>
        <p:grpSpPr>
          <a:xfrm>
            <a:off x="4079111" y="1640607"/>
            <a:ext cx="228198" cy="50625"/>
            <a:chOff x="6111025" y="6497468"/>
            <a:chExt cx="405685" cy="90000"/>
          </a:xfrm>
        </p:grpSpPr>
        <p:cxnSp>
          <p:nvCxnSpPr>
            <p:cNvPr id="271" name="Rak koppling 270">
              <a:extLst>
                <a:ext uri="{FF2B5EF4-FFF2-40B4-BE49-F238E27FC236}">
                  <a16:creationId xmlns:a16="http://schemas.microsoft.com/office/drawing/2014/main" id="{E53DC10E-D490-120C-2F80-78124418044B}"/>
                </a:ext>
              </a:extLst>
            </p:cNvPr>
            <p:cNvCxnSpPr/>
            <p:nvPr/>
          </p:nvCxnSpPr>
          <p:spPr>
            <a:xfrm>
              <a:off x="6111025" y="6542468"/>
              <a:ext cx="405685" cy="0"/>
            </a:xfrm>
            <a:prstGeom prst="line">
              <a:avLst/>
            </a:prstGeom>
            <a:ln w="19050"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2" name="Ellips 271">
              <a:extLst>
                <a:ext uri="{FF2B5EF4-FFF2-40B4-BE49-F238E27FC236}">
                  <a16:creationId xmlns:a16="http://schemas.microsoft.com/office/drawing/2014/main" id="{C3FA065E-7ECB-2971-983C-3F2B6B9623D7}"/>
                </a:ext>
              </a:extLst>
            </p:cNvPr>
            <p:cNvSpPr/>
            <p:nvPr/>
          </p:nvSpPr>
          <p:spPr>
            <a:xfrm>
              <a:off x="6268867" y="6497468"/>
              <a:ext cx="90000" cy="90000"/>
            </a:xfrm>
            <a:prstGeom prst="ellipse">
              <a:avLst/>
            </a:prstGeom>
            <a:solidFill>
              <a:srgbClr val="FAFAFA"/>
            </a:solidFill>
            <a:ln w="1905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algn="ctr"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cs typeface="Arial"/>
              </a:endParaRPr>
            </a:p>
          </p:txBody>
        </p:sp>
      </p:grpSp>
      <p:grpSp>
        <p:nvGrpSpPr>
          <p:cNvPr id="273" name="Grupp 272" descr="benchmark_icon">
            <a:extLst>
              <a:ext uri="{FF2B5EF4-FFF2-40B4-BE49-F238E27FC236}">
                <a16:creationId xmlns:a16="http://schemas.microsoft.com/office/drawing/2014/main" id="{D1745155-3AE9-B193-FD12-2977780AF5C5}"/>
              </a:ext>
            </a:extLst>
          </p:cNvPr>
          <p:cNvGrpSpPr/>
          <p:nvPr/>
        </p:nvGrpSpPr>
        <p:grpSpPr>
          <a:xfrm>
            <a:off x="5066079" y="1640607"/>
            <a:ext cx="228198" cy="50625"/>
            <a:chOff x="6111025" y="6497468"/>
            <a:chExt cx="405685" cy="90000"/>
          </a:xfrm>
        </p:grpSpPr>
        <p:cxnSp>
          <p:nvCxnSpPr>
            <p:cNvPr id="274" name="Rak koppling 273">
              <a:extLst>
                <a:ext uri="{FF2B5EF4-FFF2-40B4-BE49-F238E27FC236}">
                  <a16:creationId xmlns:a16="http://schemas.microsoft.com/office/drawing/2014/main" id="{95138E88-B4DC-3B16-3156-BE4A246F1B0B}"/>
                </a:ext>
              </a:extLst>
            </p:cNvPr>
            <p:cNvCxnSpPr/>
            <p:nvPr/>
          </p:nvCxnSpPr>
          <p:spPr>
            <a:xfrm>
              <a:off x="6111025" y="6542468"/>
              <a:ext cx="405685" cy="0"/>
            </a:xfrm>
            <a:prstGeom prst="line">
              <a:avLst/>
            </a:prstGeom>
            <a:ln w="19050">
              <a:solidFill>
                <a:srgbClr val="BFBFBF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5" name="Ellips 274">
              <a:extLst>
                <a:ext uri="{FF2B5EF4-FFF2-40B4-BE49-F238E27FC236}">
                  <a16:creationId xmlns:a16="http://schemas.microsoft.com/office/drawing/2014/main" id="{33B23ACD-92B8-832D-247C-26474A5D5347}"/>
                </a:ext>
              </a:extLst>
            </p:cNvPr>
            <p:cNvSpPr/>
            <p:nvPr/>
          </p:nvSpPr>
          <p:spPr>
            <a:xfrm>
              <a:off x="6268867" y="6497468"/>
              <a:ext cx="90000" cy="90000"/>
            </a:xfrm>
            <a:prstGeom prst="ellipse">
              <a:avLst/>
            </a:prstGeom>
            <a:solidFill>
              <a:srgbClr val="FAFAFA"/>
            </a:solidFill>
            <a:ln w="19050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algn="ctr"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cs typeface="Arial"/>
              </a:endParaRPr>
            </a:p>
          </p:txBody>
        </p:sp>
      </p:grpSp>
      <p:sp>
        <p:nvSpPr>
          <p:cNvPr id="276" name="textruta 275">
            <a:extLst>
              <a:ext uri="{FF2B5EF4-FFF2-40B4-BE49-F238E27FC236}">
                <a16:creationId xmlns:a16="http://schemas.microsoft.com/office/drawing/2014/main" id="{E10D9278-F80D-4A76-2EE8-8E6CFC243319}"/>
              </a:ext>
            </a:extLst>
          </p:cNvPr>
          <p:cNvSpPr txBox="1"/>
          <p:nvPr/>
        </p:nvSpPr>
        <p:spPr>
          <a:xfrm>
            <a:off x="4307309" y="1605170"/>
            <a:ext cx="745569" cy="121500"/>
          </a:xfrm>
          <a:prstGeom prst="rect">
            <a:avLst/>
          </a:prstGeom>
          <a:noFill/>
        </p:spPr>
        <p:txBody>
          <a:bodyPr wrap="square" tIns="0" bIns="0" rtlCol="0" anchor="ctr">
            <a:norm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14350" fontAlgn="auto">
              <a:spcBef>
                <a:spcPts val="0"/>
              </a:spcBef>
              <a:spcAft>
                <a:spcPts val="0"/>
              </a:spcAft>
            </a:pPr>
            <a:r>
              <a:rPr lang="sv-SE" sz="394">
                <a:solidFill>
                  <a:srgbClr val="000000"/>
                </a:solidFill>
                <a:latin typeface="Arial"/>
                <a:ea typeface="Roboto" panose="02000000000000000000" pitchFamily="2" charset="0"/>
                <a:cs typeface="Arial"/>
              </a:rPr>
              <a:t>Verksamhetsstöd - SCI</a:t>
            </a:r>
          </a:p>
        </p:txBody>
      </p:sp>
      <p:sp>
        <p:nvSpPr>
          <p:cNvPr id="277" name="textruta 276">
            <a:extLst>
              <a:ext uri="{FF2B5EF4-FFF2-40B4-BE49-F238E27FC236}">
                <a16:creationId xmlns:a16="http://schemas.microsoft.com/office/drawing/2014/main" id="{C0C01BBD-AFAB-BC7A-900B-192CD2DC1177}"/>
              </a:ext>
            </a:extLst>
          </p:cNvPr>
          <p:cNvSpPr txBox="1"/>
          <p:nvPr/>
        </p:nvSpPr>
        <p:spPr>
          <a:xfrm>
            <a:off x="5294276" y="1605170"/>
            <a:ext cx="745569" cy="121500"/>
          </a:xfrm>
          <a:prstGeom prst="rect">
            <a:avLst/>
          </a:prstGeom>
          <a:noFill/>
        </p:spPr>
        <p:txBody>
          <a:bodyPr wrap="square" tIns="0" bIns="0" rtlCol="0" anchor="ctr">
            <a:norm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700" kern="120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14350" fontAlgn="auto">
              <a:spcBef>
                <a:spcPts val="0"/>
              </a:spcBef>
              <a:spcAft>
                <a:spcPts val="0"/>
              </a:spcAft>
            </a:pPr>
            <a:r>
              <a:rPr lang="sv-SE" sz="394">
                <a:solidFill>
                  <a:srgbClr val="000000"/>
                </a:solidFill>
                <a:latin typeface="Arial"/>
                <a:cs typeface="Arial"/>
              </a:rPr>
              <a:t>VS - Verksamhetsstöd</a:t>
            </a:r>
          </a:p>
        </p:txBody>
      </p:sp>
      <p:pic>
        <p:nvPicPr>
          <p:cNvPr id="319" name="New picture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01885" y="829109"/>
            <a:ext cx="348950" cy="348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024871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22A9A3-8636-4A04-BD48-3153280FB086}" type="slidenum">
              <a:rPr lang="sv-SE" smtClean="0"/>
              <a:t>28</a:t>
            </a:fld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E91D87-1285-6843-BFFA-E098C31F828A}" type="datetime1">
              <a:rPr lang="sv-SE" smtClean="0"/>
              <a:t>2023-09-12</a:t>
            </a:fld>
            <a:endParaRPr lang="sv-SE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TextBox 5"/>
          <p:cNvSpPr txBox="1"/>
          <p:nvPr/>
        </p:nvSpPr>
        <p:spPr>
          <a:xfrm>
            <a:off x="1317575" y="1896256"/>
            <a:ext cx="3808735" cy="8309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sv-SE" sz="5400" b="1" dirty="0" smtClean="0"/>
              <a:t>Bottenligan</a:t>
            </a:r>
            <a:endParaRPr lang="sv-SE" sz="5400" b="1" dirty="0"/>
          </a:p>
        </p:txBody>
      </p:sp>
    </p:spTree>
    <p:extLst>
      <p:ext uri="{BB962C8B-B14F-4D97-AF65-F5344CB8AC3E}">
        <p14:creationId xmlns:p14="http://schemas.microsoft.com/office/powerpoint/2010/main" val="203054959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nummer 1">
            <a:extLst>
              <a:ext uri="{FF2B5EF4-FFF2-40B4-BE49-F238E27FC236}">
                <a16:creationId xmlns:a16="http://schemas.microsoft.com/office/drawing/2014/main" id="{54E2D41F-25B6-A47E-1616-BCEB35BEA2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422A9A3-8636-4A04-BD48-3153280FB086}" type="slidenum">
              <a:rPr lang="sv-SE">
                <a:solidFill>
                  <a:srgbClr val="000000">
                    <a:tint val="75000"/>
                  </a:srgbClr>
                </a:solidFill>
                <a:latin typeface="Arial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9</a:t>
            </a:fld>
            <a:endParaRPr lang="sv-SE">
              <a:solidFill>
                <a:srgbClr val="000000">
                  <a:tint val="75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82BC58BF-6655-FD31-5B11-27FF2CC9BC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CCE91D87-1285-6843-BFFA-E098C31F828A}" type="datetime1">
              <a:rPr lang="sv-SE">
                <a:solidFill>
                  <a:srgbClr val="000000">
                    <a:tint val="75000"/>
                  </a:srgbClr>
                </a:solidFill>
                <a:latin typeface="Arial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3-09-12</a:t>
            </a:fld>
            <a:endParaRPr lang="sv-SE">
              <a:solidFill>
                <a:srgbClr val="000000">
                  <a:tint val="75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5" name="Rubrik 4">
            <a:extLst>
              <a:ext uri="{FF2B5EF4-FFF2-40B4-BE49-F238E27FC236}">
                <a16:creationId xmlns:a16="http://schemas.microsoft.com/office/drawing/2014/main" id="{4A53245C-68FA-2312-C7CF-24F7E4D6D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tveckling: 55 / 100</a:t>
            </a:r>
          </a:p>
        </p:txBody>
      </p:sp>
      <p:sp>
        <p:nvSpPr>
          <p:cNvPr id="318" name="Rubrik 4">
            <a:extLst>
              <a:ext uri="{FF2B5EF4-FFF2-40B4-BE49-F238E27FC236}">
                <a16:creationId xmlns:a16="http://schemas.microsoft.com/office/drawing/2014/main" id="{73C33D2D-F8AB-A3A0-2706-F4E3D9F2C286}"/>
              </a:ext>
            </a:extLst>
          </p:cNvPr>
          <p:cNvSpPr txBox="1"/>
          <p:nvPr/>
        </p:nvSpPr>
        <p:spPr>
          <a:xfrm>
            <a:off x="850260" y="1196222"/>
            <a:ext cx="5822896" cy="29825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14350" fontAlgn="auto">
              <a:spcAft>
                <a:spcPts val="0"/>
              </a:spcAft>
            </a:pPr>
            <a:r>
              <a:rPr lang="en-US" sz="1125" b="0">
                <a:solidFill>
                  <a:srgbClr val="000000"/>
                </a:solidFill>
                <a:latin typeface="Arial"/>
                <a:cs typeface="Arial"/>
              </a:rPr>
              <a:t>'Jag har möjlighet att utvecklas i mitt arbete'</a:t>
            </a:r>
          </a:p>
        </p:txBody>
      </p:sp>
      <p:sp>
        <p:nvSpPr>
          <p:cNvPr id="264" name="Rektangel: rundade hörn 263">
            <a:extLst>
              <a:ext uri="{FF2B5EF4-FFF2-40B4-BE49-F238E27FC236}">
                <a16:creationId xmlns:a16="http://schemas.microsoft.com/office/drawing/2014/main" id="{94C18F0C-33EA-BF62-00AA-6BF77CB14A12}"/>
              </a:ext>
            </a:extLst>
          </p:cNvPr>
          <p:cNvSpPr/>
          <p:nvPr/>
        </p:nvSpPr>
        <p:spPr>
          <a:xfrm>
            <a:off x="471488" y="1532891"/>
            <a:ext cx="2896958" cy="2613342"/>
          </a:xfrm>
          <a:prstGeom prst="roundRect">
            <a:avLst>
              <a:gd name="adj" fmla="val 1816"/>
            </a:avLst>
          </a:prstGeom>
          <a:noFill/>
          <a:ln w="2857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</a:pPr>
            <a:endParaRPr lang="sv-SE" sz="760">
              <a:solidFill>
                <a:srgbClr val="000000"/>
              </a:solidFill>
              <a:cs typeface="Arial"/>
            </a:endParaRPr>
          </a:p>
        </p:txBody>
      </p:sp>
      <p:sp>
        <p:nvSpPr>
          <p:cNvPr id="265" name="Rektangel: rundade hörn 264">
            <a:extLst>
              <a:ext uri="{FF2B5EF4-FFF2-40B4-BE49-F238E27FC236}">
                <a16:creationId xmlns:a16="http://schemas.microsoft.com/office/drawing/2014/main" id="{7BA446F5-192D-A008-9E9F-99815E1E6959}"/>
              </a:ext>
            </a:extLst>
          </p:cNvPr>
          <p:cNvSpPr/>
          <p:nvPr/>
        </p:nvSpPr>
        <p:spPr>
          <a:xfrm>
            <a:off x="1519444" y="1454371"/>
            <a:ext cx="797505" cy="150567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2857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01250" tIns="10125" rIns="101250" bIns="10125" rtlCol="0" anchor="ctr">
            <a:sp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</a:pPr>
            <a:r>
              <a:rPr lang="sv-SE" sz="563" b="1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Svarsfördelning</a:t>
            </a:r>
          </a:p>
        </p:txBody>
      </p:sp>
      <p:graphicFrame>
        <p:nvGraphicFramePr>
          <p:cNvPr id="266" name="Chart 24">
            <a:extLst>
              <a:ext uri="{FF2B5EF4-FFF2-40B4-BE49-F238E27FC236}">
                <a16:creationId xmlns:a16="http://schemas.microsoft.com/office/drawing/2014/main" id="{29508722-A7C9-022A-D505-2358F818F020}"/>
              </a:ext>
            </a:extLst>
          </p:cNvPr>
          <p:cNvGraphicFramePr/>
          <p:nvPr>
            <p:extLst/>
          </p:nvPr>
        </p:nvGraphicFramePr>
        <p:xfrm>
          <a:off x="471275" y="1673168"/>
          <a:ext cx="2926422" cy="23301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67" name="Rektangel: rundade hörn 266">
            <a:extLst>
              <a:ext uri="{FF2B5EF4-FFF2-40B4-BE49-F238E27FC236}">
                <a16:creationId xmlns:a16="http://schemas.microsoft.com/office/drawing/2014/main" id="{4B7CEC0B-D326-18B3-AD70-10235FAC8E41}"/>
              </a:ext>
            </a:extLst>
          </p:cNvPr>
          <p:cNvSpPr/>
          <p:nvPr/>
        </p:nvSpPr>
        <p:spPr>
          <a:xfrm>
            <a:off x="3489555" y="1532891"/>
            <a:ext cx="2896958" cy="2613342"/>
          </a:xfrm>
          <a:prstGeom prst="roundRect">
            <a:avLst>
              <a:gd name="adj" fmla="val 1816"/>
            </a:avLst>
          </a:prstGeom>
          <a:noFill/>
          <a:ln w="2857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</a:pPr>
            <a:endParaRPr lang="sv-SE" sz="760">
              <a:solidFill>
                <a:srgbClr val="000000"/>
              </a:solidFill>
              <a:cs typeface="Arial"/>
            </a:endParaRPr>
          </a:p>
        </p:txBody>
      </p:sp>
      <p:sp>
        <p:nvSpPr>
          <p:cNvPr id="268" name="Rektangel: rundade hörn 267">
            <a:extLst>
              <a:ext uri="{FF2B5EF4-FFF2-40B4-BE49-F238E27FC236}">
                <a16:creationId xmlns:a16="http://schemas.microsoft.com/office/drawing/2014/main" id="{61C7A89C-1D73-2E4A-C0C8-DFCA4903FB63}"/>
              </a:ext>
            </a:extLst>
          </p:cNvPr>
          <p:cNvSpPr/>
          <p:nvPr/>
        </p:nvSpPr>
        <p:spPr>
          <a:xfrm>
            <a:off x="4461886" y="1454482"/>
            <a:ext cx="948752" cy="150567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2857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01250" tIns="10125" rIns="101250" bIns="10125" rtlCol="0" anchor="ctr">
            <a:sp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</a:pPr>
            <a:r>
              <a:rPr lang="sv-SE" sz="563" b="1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Tidslinje för resultat</a:t>
            </a:r>
          </a:p>
        </p:txBody>
      </p:sp>
      <p:graphicFrame>
        <p:nvGraphicFramePr>
          <p:cNvPr id="269" name="Chart 11">
            <a:extLst>
              <a:ext uri="{FF2B5EF4-FFF2-40B4-BE49-F238E27FC236}">
                <a16:creationId xmlns:a16="http://schemas.microsoft.com/office/drawing/2014/main" id="{1FB872A8-EE5F-4F0F-B36C-DAF3F991C3B4}"/>
              </a:ext>
            </a:extLst>
          </p:cNvPr>
          <p:cNvGraphicFramePr/>
          <p:nvPr>
            <p:extLst/>
          </p:nvPr>
        </p:nvGraphicFramePr>
        <p:xfrm>
          <a:off x="3489554" y="1553153"/>
          <a:ext cx="2896959" cy="25759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270" name="Grupp 269" descr="scope_icon">
            <a:extLst>
              <a:ext uri="{FF2B5EF4-FFF2-40B4-BE49-F238E27FC236}">
                <a16:creationId xmlns:a16="http://schemas.microsoft.com/office/drawing/2014/main" id="{E47FABD1-ACA6-9B47-3365-5D701290A313}"/>
              </a:ext>
            </a:extLst>
          </p:cNvPr>
          <p:cNvGrpSpPr/>
          <p:nvPr/>
        </p:nvGrpSpPr>
        <p:grpSpPr>
          <a:xfrm>
            <a:off x="4079111" y="1640607"/>
            <a:ext cx="228198" cy="50625"/>
            <a:chOff x="6111025" y="6497468"/>
            <a:chExt cx="405685" cy="90000"/>
          </a:xfrm>
        </p:grpSpPr>
        <p:cxnSp>
          <p:nvCxnSpPr>
            <p:cNvPr id="271" name="Rak koppling 270">
              <a:extLst>
                <a:ext uri="{FF2B5EF4-FFF2-40B4-BE49-F238E27FC236}">
                  <a16:creationId xmlns:a16="http://schemas.microsoft.com/office/drawing/2014/main" id="{E53DC10E-D490-120C-2F80-78124418044B}"/>
                </a:ext>
              </a:extLst>
            </p:cNvPr>
            <p:cNvCxnSpPr/>
            <p:nvPr/>
          </p:nvCxnSpPr>
          <p:spPr>
            <a:xfrm>
              <a:off x="6111025" y="6542468"/>
              <a:ext cx="405685" cy="0"/>
            </a:xfrm>
            <a:prstGeom prst="line">
              <a:avLst/>
            </a:prstGeom>
            <a:ln w="19050"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2" name="Ellips 271">
              <a:extLst>
                <a:ext uri="{FF2B5EF4-FFF2-40B4-BE49-F238E27FC236}">
                  <a16:creationId xmlns:a16="http://schemas.microsoft.com/office/drawing/2014/main" id="{C3FA065E-7ECB-2971-983C-3F2B6B9623D7}"/>
                </a:ext>
              </a:extLst>
            </p:cNvPr>
            <p:cNvSpPr/>
            <p:nvPr/>
          </p:nvSpPr>
          <p:spPr>
            <a:xfrm>
              <a:off x="6268867" y="6497468"/>
              <a:ext cx="90000" cy="90000"/>
            </a:xfrm>
            <a:prstGeom prst="ellipse">
              <a:avLst/>
            </a:prstGeom>
            <a:solidFill>
              <a:srgbClr val="FAFAFA"/>
            </a:solidFill>
            <a:ln w="1905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algn="ctr"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cs typeface="Arial"/>
              </a:endParaRPr>
            </a:p>
          </p:txBody>
        </p:sp>
      </p:grpSp>
      <p:grpSp>
        <p:nvGrpSpPr>
          <p:cNvPr id="273" name="Grupp 272" descr="benchmark_icon">
            <a:extLst>
              <a:ext uri="{FF2B5EF4-FFF2-40B4-BE49-F238E27FC236}">
                <a16:creationId xmlns:a16="http://schemas.microsoft.com/office/drawing/2014/main" id="{D1745155-3AE9-B193-FD12-2977780AF5C5}"/>
              </a:ext>
            </a:extLst>
          </p:cNvPr>
          <p:cNvGrpSpPr/>
          <p:nvPr/>
        </p:nvGrpSpPr>
        <p:grpSpPr>
          <a:xfrm>
            <a:off x="5066079" y="1640607"/>
            <a:ext cx="228198" cy="50625"/>
            <a:chOff x="6111025" y="6497468"/>
            <a:chExt cx="405685" cy="90000"/>
          </a:xfrm>
        </p:grpSpPr>
        <p:cxnSp>
          <p:nvCxnSpPr>
            <p:cNvPr id="274" name="Rak koppling 273">
              <a:extLst>
                <a:ext uri="{FF2B5EF4-FFF2-40B4-BE49-F238E27FC236}">
                  <a16:creationId xmlns:a16="http://schemas.microsoft.com/office/drawing/2014/main" id="{95138E88-B4DC-3B16-3156-BE4A246F1B0B}"/>
                </a:ext>
              </a:extLst>
            </p:cNvPr>
            <p:cNvCxnSpPr/>
            <p:nvPr/>
          </p:nvCxnSpPr>
          <p:spPr>
            <a:xfrm>
              <a:off x="6111025" y="6542468"/>
              <a:ext cx="405685" cy="0"/>
            </a:xfrm>
            <a:prstGeom prst="line">
              <a:avLst/>
            </a:prstGeom>
            <a:ln w="19050">
              <a:solidFill>
                <a:srgbClr val="BFBFBF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5" name="Ellips 274">
              <a:extLst>
                <a:ext uri="{FF2B5EF4-FFF2-40B4-BE49-F238E27FC236}">
                  <a16:creationId xmlns:a16="http://schemas.microsoft.com/office/drawing/2014/main" id="{33B23ACD-92B8-832D-247C-26474A5D5347}"/>
                </a:ext>
              </a:extLst>
            </p:cNvPr>
            <p:cNvSpPr/>
            <p:nvPr/>
          </p:nvSpPr>
          <p:spPr>
            <a:xfrm>
              <a:off x="6268867" y="6497468"/>
              <a:ext cx="90000" cy="90000"/>
            </a:xfrm>
            <a:prstGeom prst="ellipse">
              <a:avLst/>
            </a:prstGeom>
            <a:solidFill>
              <a:srgbClr val="FAFAFA"/>
            </a:solidFill>
            <a:ln w="19050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algn="ctr"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cs typeface="Arial"/>
              </a:endParaRPr>
            </a:p>
          </p:txBody>
        </p:sp>
      </p:grpSp>
      <p:sp>
        <p:nvSpPr>
          <p:cNvPr id="276" name="textruta 275">
            <a:extLst>
              <a:ext uri="{FF2B5EF4-FFF2-40B4-BE49-F238E27FC236}">
                <a16:creationId xmlns:a16="http://schemas.microsoft.com/office/drawing/2014/main" id="{E10D9278-F80D-4A76-2EE8-8E6CFC243319}"/>
              </a:ext>
            </a:extLst>
          </p:cNvPr>
          <p:cNvSpPr txBox="1"/>
          <p:nvPr/>
        </p:nvSpPr>
        <p:spPr>
          <a:xfrm>
            <a:off x="4307309" y="1605170"/>
            <a:ext cx="745569" cy="121500"/>
          </a:xfrm>
          <a:prstGeom prst="rect">
            <a:avLst/>
          </a:prstGeom>
          <a:noFill/>
        </p:spPr>
        <p:txBody>
          <a:bodyPr wrap="square" tIns="0" bIns="0" rtlCol="0" anchor="ctr">
            <a:norm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14350" fontAlgn="auto">
              <a:spcBef>
                <a:spcPts val="0"/>
              </a:spcBef>
              <a:spcAft>
                <a:spcPts val="0"/>
              </a:spcAft>
            </a:pPr>
            <a:r>
              <a:rPr lang="sv-SE" sz="394">
                <a:solidFill>
                  <a:srgbClr val="000000"/>
                </a:solidFill>
                <a:latin typeface="Arial"/>
                <a:ea typeface="Roboto" panose="02000000000000000000" pitchFamily="2" charset="0"/>
                <a:cs typeface="Arial"/>
              </a:rPr>
              <a:t>Verksamhetsstöd - SCI</a:t>
            </a:r>
          </a:p>
        </p:txBody>
      </p:sp>
      <p:sp>
        <p:nvSpPr>
          <p:cNvPr id="277" name="textruta 276">
            <a:extLst>
              <a:ext uri="{FF2B5EF4-FFF2-40B4-BE49-F238E27FC236}">
                <a16:creationId xmlns:a16="http://schemas.microsoft.com/office/drawing/2014/main" id="{C0C01BBD-AFAB-BC7A-900B-192CD2DC1177}"/>
              </a:ext>
            </a:extLst>
          </p:cNvPr>
          <p:cNvSpPr txBox="1"/>
          <p:nvPr/>
        </p:nvSpPr>
        <p:spPr>
          <a:xfrm>
            <a:off x="5294276" y="1605170"/>
            <a:ext cx="745569" cy="121500"/>
          </a:xfrm>
          <a:prstGeom prst="rect">
            <a:avLst/>
          </a:prstGeom>
          <a:noFill/>
        </p:spPr>
        <p:txBody>
          <a:bodyPr wrap="square" tIns="0" bIns="0" rtlCol="0" anchor="ctr">
            <a:norm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700" kern="120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14350" fontAlgn="auto">
              <a:spcBef>
                <a:spcPts val="0"/>
              </a:spcBef>
              <a:spcAft>
                <a:spcPts val="0"/>
              </a:spcAft>
            </a:pPr>
            <a:r>
              <a:rPr lang="sv-SE" sz="394">
                <a:solidFill>
                  <a:srgbClr val="000000"/>
                </a:solidFill>
                <a:latin typeface="Arial"/>
                <a:cs typeface="Arial"/>
              </a:rPr>
              <a:t>VS - Verksamhetsstöd</a:t>
            </a:r>
          </a:p>
        </p:txBody>
      </p:sp>
      <p:pic>
        <p:nvPicPr>
          <p:cNvPr id="319" name="New picture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01885" y="829109"/>
            <a:ext cx="348950" cy="348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84181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AB082DEB-9899-E842-9093-FC8A4497BE8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174750" y="1430594"/>
            <a:ext cx="5434850" cy="3303405"/>
          </a:xfrm>
        </p:spPr>
        <p:txBody>
          <a:bodyPr/>
          <a:lstStyle/>
          <a:p>
            <a:r>
              <a:rPr lang="sv-SE" dirty="0" smtClean="0"/>
              <a:t>Personalnytt SCI </a:t>
            </a:r>
            <a:r>
              <a:rPr lang="sv-SE" dirty="0" err="1" smtClean="0"/>
              <a:t>admin</a:t>
            </a:r>
            <a:endParaRPr lang="sv-SE" dirty="0" smtClean="0"/>
          </a:p>
          <a:p>
            <a:r>
              <a:rPr lang="sv-SE" dirty="0"/>
              <a:t>Nyheter på </a:t>
            </a:r>
            <a:r>
              <a:rPr lang="sv-SE" dirty="0" smtClean="0"/>
              <a:t>KTH/SCI</a:t>
            </a:r>
          </a:p>
          <a:p>
            <a:r>
              <a:rPr lang="sv-SE" dirty="0" smtClean="0"/>
              <a:t>Senaste medarbetarundersökning </a:t>
            </a:r>
            <a:r>
              <a:rPr lang="sv-SE" dirty="0"/>
              <a:t>– resultat för hela SCI </a:t>
            </a:r>
            <a:r>
              <a:rPr lang="sv-SE" dirty="0" err="1" smtClean="0"/>
              <a:t>admin</a:t>
            </a:r>
            <a:endParaRPr lang="sv-SE" dirty="0" smtClean="0"/>
          </a:p>
          <a:p>
            <a:r>
              <a:rPr lang="sv-SE" dirty="0"/>
              <a:t>Programdirektivet &amp; samgåendet </a:t>
            </a:r>
            <a:r>
              <a:rPr lang="sv-SE" dirty="0" smtClean="0"/>
              <a:t/>
            </a:r>
            <a:br>
              <a:rPr lang="sv-SE" dirty="0" smtClean="0"/>
            </a:br>
            <a:r>
              <a:rPr lang="sv-SE" dirty="0" smtClean="0"/>
              <a:t/>
            </a:r>
            <a:br>
              <a:rPr lang="sv-SE" dirty="0" smtClean="0"/>
            </a:br>
            <a:r>
              <a:rPr lang="sv-SE" dirty="0" smtClean="0"/>
              <a:t/>
            </a:r>
            <a:br>
              <a:rPr lang="sv-SE" dirty="0" smtClean="0"/>
            </a:br>
            <a:r>
              <a:rPr lang="sv-SE" dirty="0" smtClean="0"/>
              <a:t/>
            </a:r>
            <a:br>
              <a:rPr lang="sv-SE" dirty="0" smtClean="0"/>
            </a:br>
            <a:endParaRPr lang="sv-SE" dirty="0" smtClean="0"/>
          </a:p>
          <a:p>
            <a:pPr marL="0" indent="0">
              <a:buNone/>
            </a:pPr>
            <a:r>
              <a:rPr lang="sv-SE" dirty="0" smtClean="0"/>
              <a:t/>
            </a:r>
            <a:br>
              <a:rPr lang="sv-SE" dirty="0" smtClean="0"/>
            </a:br>
            <a:endParaRPr lang="sv-SE" dirty="0"/>
          </a:p>
          <a:p>
            <a:endParaRPr lang="sv-SE" dirty="0" smtClean="0"/>
          </a:p>
          <a:p>
            <a:endParaRPr lang="sv-SE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AE940D8-9803-3246-A44C-D579CCD9C6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Innehåll</a:t>
            </a:r>
            <a:endParaRPr lang="sv-SE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887264B-51AB-E946-BFA6-10E97039F95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B8D35E4-1F4E-4B75-BE20-E3AC25ACABA4}" type="datetime1">
              <a:rPr lang="sv-SE" smtClean="0"/>
              <a:t>2023-09-12</a:t>
            </a:fld>
            <a:endParaRPr lang="sv-S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ACD793B-D55C-E541-B769-29E199B5D0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A0B0534-76FC-8842-A5E7-C1F9809199D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527FB4B-7893-4946-9C41-FB1EB79145A0}" type="slidenum">
              <a:rPr lang="sv-SE" smtClean="0"/>
              <a:t>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73141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22A9A3-8636-4A04-BD48-3153280FB086}" type="slidenum">
              <a:rPr lang="sv-SE" smtClean="0"/>
              <a:t>30</a:t>
            </a:fld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E91D87-1285-6843-BFFA-E098C31F828A}" type="datetime1">
              <a:rPr lang="sv-SE" smtClean="0"/>
              <a:t>2023-09-12</a:t>
            </a:fld>
            <a:endParaRPr lang="sv-SE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Fokusområde…</a:t>
            </a:r>
            <a:endParaRPr lang="sv-SE" dirty="0"/>
          </a:p>
        </p:txBody>
      </p:sp>
      <p:sp>
        <p:nvSpPr>
          <p:cNvPr id="8" name="Rectangle 7"/>
          <p:cNvSpPr/>
          <p:nvPr/>
        </p:nvSpPr>
        <p:spPr>
          <a:xfrm>
            <a:off x="1361287" y="1925053"/>
            <a:ext cx="370403" cy="3300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000" dirty="0"/>
          </a:p>
        </p:txBody>
      </p:sp>
      <p:sp>
        <p:nvSpPr>
          <p:cNvPr id="7" name="TextBox 6"/>
          <p:cNvSpPr txBox="1"/>
          <p:nvPr/>
        </p:nvSpPr>
        <p:spPr>
          <a:xfrm>
            <a:off x="1849272" y="2047164"/>
            <a:ext cx="3645229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sv-SE" sz="3200" dirty="0" smtClean="0"/>
              <a:t>…fysisk arbetsmiljö!</a:t>
            </a:r>
            <a:endParaRPr lang="sv-SE" sz="3200" dirty="0"/>
          </a:p>
        </p:txBody>
      </p:sp>
    </p:spTree>
    <p:extLst>
      <p:ext uri="{BB962C8B-B14F-4D97-AF65-F5344CB8AC3E}">
        <p14:creationId xmlns:p14="http://schemas.microsoft.com/office/powerpoint/2010/main" val="413285309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22A9A3-8636-4A04-BD48-3153280FB086}" type="slidenum">
              <a:rPr lang="sv-SE" smtClean="0"/>
              <a:t>31</a:t>
            </a:fld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E91D87-1285-6843-BFFA-E098C31F828A}" type="datetime1">
              <a:rPr lang="sv-SE" smtClean="0"/>
              <a:t>2023-09-12</a:t>
            </a:fld>
            <a:endParaRPr lang="sv-SE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TextBox 5"/>
          <p:cNvSpPr txBox="1"/>
          <p:nvPr/>
        </p:nvSpPr>
        <p:spPr>
          <a:xfrm>
            <a:off x="1867723" y="1957012"/>
            <a:ext cx="3488006" cy="8309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sv-SE" sz="5400" b="1" dirty="0" smtClean="0"/>
              <a:t>Toppfokus</a:t>
            </a:r>
            <a:endParaRPr lang="sv-SE" sz="5400" b="1" dirty="0"/>
          </a:p>
        </p:txBody>
      </p:sp>
    </p:spTree>
    <p:extLst>
      <p:ext uri="{BB962C8B-B14F-4D97-AF65-F5344CB8AC3E}">
        <p14:creationId xmlns:p14="http://schemas.microsoft.com/office/powerpoint/2010/main" val="120703386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nummer 1">
            <a:extLst>
              <a:ext uri="{FF2B5EF4-FFF2-40B4-BE49-F238E27FC236}">
                <a16:creationId xmlns:a16="http://schemas.microsoft.com/office/drawing/2014/main" id="{54E2D41F-25B6-A47E-1616-BCEB35BEA2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422A9A3-8636-4A04-BD48-3153280FB086}" type="slidenum">
              <a:rPr lang="sv-SE">
                <a:solidFill>
                  <a:srgbClr val="000000">
                    <a:tint val="75000"/>
                  </a:srgbClr>
                </a:solidFill>
                <a:latin typeface="Arial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32</a:t>
            </a:fld>
            <a:endParaRPr lang="sv-SE">
              <a:solidFill>
                <a:srgbClr val="000000">
                  <a:tint val="75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82BC58BF-6655-FD31-5B11-27FF2CC9BC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CCE91D87-1285-6843-BFFA-E098C31F828A}" type="datetime1">
              <a:rPr lang="sv-SE">
                <a:solidFill>
                  <a:srgbClr val="000000">
                    <a:tint val="75000"/>
                  </a:srgbClr>
                </a:solidFill>
                <a:latin typeface="Arial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3-09-12</a:t>
            </a:fld>
            <a:endParaRPr lang="sv-SE">
              <a:solidFill>
                <a:srgbClr val="000000">
                  <a:tint val="75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5" name="Rubrik 4">
            <a:extLst>
              <a:ext uri="{FF2B5EF4-FFF2-40B4-BE49-F238E27FC236}">
                <a16:creationId xmlns:a16="http://schemas.microsoft.com/office/drawing/2014/main" id="{4A53245C-68FA-2312-C7CF-24F7E4D6D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[Fokus] Fysisk arbetsmiljö 4: 77 / 100</a:t>
            </a:r>
          </a:p>
        </p:txBody>
      </p:sp>
      <p:sp>
        <p:nvSpPr>
          <p:cNvPr id="318" name="Rubrik 4">
            <a:extLst>
              <a:ext uri="{FF2B5EF4-FFF2-40B4-BE49-F238E27FC236}">
                <a16:creationId xmlns:a16="http://schemas.microsoft.com/office/drawing/2014/main" id="{73C33D2D-F8AB-A3A0-2706-F4E3D9F2C286}"/>
              </a:ext>
            </a:extLst>
          </p:cNvPr>
          <p:cNvSpPr txBox="1"/>
          <p:nvPr/>
        </p:nvSpPr>
        <p:spPr>
          <a:xfrm>
            <a:off x="850260" y="1196222"/>
            <a:ext cx="5822896" cy="29825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14350" fontAlgn="auto">
              <a:spcAft>
                <a:spcPts val="0"/>
              </a:spcAft>
            </a:pPr>
            <a:r>
              <a:rPr lang="en-US" sz="1125" b="0">
                <a:solidFill>
                  <a:srgbClr val="000000"/>
                </a:solidFill>
                <a:latin typeface="Arial"/>
                <a:cs typeface="Arial"/>
              </a:rPr>
              <a:t>'Jag har tillgång till de arbetsverktyg-/redskap jag behöver'</a:t>
            </a:r>
          </a:p>
        </p:txBody>
      </p:sp>
      <p:sp>
        <p:nvSpPr>
          <p:cNvPr id="264" name="Rektangel: rundade hörn 263">
            <a:extLst>
              <a:ext uri="{FF2B5EF4-FFF2-40B4-BE49-F238E27FC236}">
                <a16:creationId xmlns:a16="http://schemas.microsoft.com/office/drawing/2014/main" id="{94C18F0C-33EA-BF62-00AA-6BF77CB14A12}"/>
              </a:ext>
            </a:extLst>
          </p:cNvPr>
          <p:cNvSpPr/>
          <p:nvPr/>
        </p:nvSpPr>
        <p:spPr>
          <a:xfrm>
            <a:off x="471488" y="1532891"/>
            <a:ext cx="2896958" cy="2613342"/>
          </a:xfrm>
          <a:prstGeom prst="roundRect">
            <a:avLst>
              <a:gd name="adj" fmla="val 1816"/>
            </a:avLst>
          </a:prstGeom>
          <a:noFill/>
          <a:ln w="2857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</a:pPr>
            <a:endParaRPr lang="sv-SE" sz="760">
              <a:solidFill>
                <a:srgbClr val="000000"/>
              </a:solidFill>
              <a:cs typeface="Arial"/>
            </a:endParaRPr>
          </a:p>
        </p:txBody>
      </p:sp>
      <p:sp>
        <p:nvSpPr>
          <p:cNvPr id="265" name="Rektangel: rundade hörn 264">
            <a:extLst>
              <a:ext uri="{FF2B5EF4-FFF2-40B4-BE49-F238E27FC236}">
                <a16:creationId xmlns:a16="http://schemas.microsoft.com/office/drawing/2014/main" id="{7BA446F5-192D-A008-9E9F-99815E1E6959}"/>
              </a:ext>
            </a:extLst>
          </p:cNvPr>
          <p:cNvSpPr/>
          <p:nvPr/>
        </p:nvSpPr>
        <p:spPr>
          <a:xfrm>
            <a:off x="1519444" y="1454371"/>
            <a:ext cx="797505" cy="150567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2857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01250" tIns="10125" rIns="101250" bIns="10125" rtlCol="0" anchor="ctr">
            <a:sp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</a:pPr>
            <a:r>
              <a:rPr lang="sv-SE" sz="563" b="1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Svarsfördelning</a:t>
            </a:r>
          </a:p>
        </p:txBody>
      </p:sp>
      <p:graphicFrame>
        <p:nvGraphicFramePr>
          <p:cNvPr id="266" name="Chart 24">
            <a:extLst>
              <a:ext uri="{FF2B5EF4-FFF2-40B4-BE49-F238E27FC236}">
                <a16:creationId xmlns:a16="http://schemas.microsoft.com/office/drawing/2014/main" id="{29508722-A7C9-022A-D505-2358F818F020}"/>
              </a:ext>
            </a:extLst>
          </p:cNvPr>
          <p:cNvGraphicFramePr/>
          <p:nvPr>
            <p:extLst/>
          </p:nvPr>
        </p:nvGraphicFramePr>
        <p:xfrm>
          <a:off x="471275" y="1673168"/>
          <a:ext cx="2926422" cy="23301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67" name="Rektangel: rundade hörn 266">
            <a:extLst>
              <a:ext uri="{FF2B5EF4-FFF2-40B4-BE49-F238E27FC236}">
                <a16:creationId xmlns:a16="http://schemas.microsoft.com/office/drawing/2014/main" id="{4B7CEC0B-D326-18B3-AD70-10235FAC8E41}"/>
              </a:ext>
            </a:extLst>
          </p:cNvPr>
          <p:cNvSpPr/>
          <p:nvPr/>
        </p:nvSpPr>
        <p:spPr>
          <a:xfrm>
            <a:off x="3489555" y="1532891"/>
            <a:ext cx="2896958" cy="2613342"/>
          </a:xfrm>
          <a:prstGeom prst="roundRect">
            <a:avLst>
              <a:gd name="adj" fmla="val 1816"/>
            </a:avLst>
          </a:prstGeom>
          <a:noFill/>
          <a:ln w="2857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</a:pPr>
            <a:endParaRPr lang="sv-SE" sz="760">
              <a:solidFill>
                <a:srgbClr val="000000"/>
              </a:solidFill>
              <a:cs typeface="Arial"/>
            </a:endParaRPr>
          </a:p>
        </p:txBody>
      </p:sp>
      <p:sp>
        <p:nvSpPr>
          <p:cNvPr id="268" name="Rektangel: rundade hörn 267">
            <a:extLst>
              <a:ext uri="{FF2B5EF4-FFF2-40B4-BE49-F238E27FC236}">
                <a16:creationId xmlns:a16="http://schemas.microsoft.com/office/drawing/2014/main" id="{61C7A89C-1D73-2E4A-C0C8-DFCA4903FB63}"/>
              </a:ext>
            </a:extLst>
          </p:cNvPr>
          <p:cNvSpPr/>
          <p:nvPr/>
        </p:nvSpPr>
        <p:spPr>
          <a:xfrm>
            <a:off x="4461886" y="1454482"/>
            <a:ext cx="948752" cy="150567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2857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01250" tIns="10125" rIns="101250" bIns="10125" rtlCol="0" anchor="ctr">
            <a:sp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</a:pPr>
            <a:r>
              <a:rPr lang="sv-SE" sz="563" b="1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Tidslinje för resultat</a:t>
            </a:r>
          </a:p>
        </p:txBody>
      </p:sp>
      <p:graphicFrame>
        <p:nvGraphicFramePr>
          <p:cNvPr id="269" name="Chart 11">
            <a:extLst>
              <a:ext uri="{FF2B5EF4-FFF2-40B4-BE49-F238E27FC236}">
                <a16:creationId xmlns:a16="http://schemas.microsoft.com/office/drawing/2014/main" id="{1FB872A8-EE5F-4F0F-B36C-DAF3F991C3B4}"/>
              </a:ext>
            </a:extLst>
          </p:cNvPr>
          <p:cNvGraphicFramePr/>
          <p:nvPr>
            <p:extLst/>
          </p:nvPr>
        </p:nvGraphicFramePr>
        <p:xfrm>
          <a:off x="3489554" y="1553153"/>
          <a:ext cx="2896959" cy="25759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270" name="Grupp 269" descr="scope_icon">
            <a:extLst>
              <a:ext uri="{FF2B5EF4-FFF2-40B4-BE49-F238E27FC236}">
                <a16:creationId xmlns:a16="http://schemas.microsoft.com/office/drawing/2014/main" id="{E47FABD1-ACA6-9B47-3365-5D701290A313}"/>
              </a:ext>
            </a:extLst>
          </p:cNvPr>
          <p:cNvGrpSpPr/>
          <p:nvPr/>
        </p:nvGrpSpPr>
        <p:grpSpPr>
          <a:xfrm>
            <a:off x="4079111" y="1640607"/>
            <a:ext cx="228198" cy="50625"/>
            <a:chOff x="6111025" y="6497468"/>
            <a:chExt cx="405685" cy="90000"/>
          </a:xfrm>
        </p:grpSpPr>
        <p:cxnSp>
          <p:nvCxnSpPr>
            <p:cNvPr id="271" name="Rak koppling 270">
              <a:extLst>
                <a:ext uri="{FF2B5EF4-FFF2-40B4-BE49-F238E27FC236}">
                  <a16:creationId xmlns:a16="http://schemas.microsoft.com/office/drawing/2014/main" id="{E53DC10E-D490-120C-2F80-78124418044B}"/>
                </a:ext>
              </a:extLst>
            </p:cNvPr>
            <p:cNvCxnSpPr/>
            <p:nvPr/>
          </p:nvCxnSpPr>
          <p:spPr>
            <a:xfrm>
              <a:off x="6111025" y="6542468"/>
              <a:ext cx="405685" cy="0"/>
            </a:xfrm>
            <a:prstGeom prst="line">
              <a:avLst/>
            </a:prstGeom>
            <a:ln w="19050"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2" name="Ellips 271">
              <a:extLst>
                <a:ext uri="{FF2B5EF4-FFF2-40B4-BE49-F238E27FC236}">
                  <a16:creationId xmlns:a16="http://schemas.microsoft.com/office/drawing/2014/main" id="{C3FA065E-7ECB-2971-983C-3F2B6B9623D7}"/>
                </a:ext>
              </a:extLst>
            </p:cNvPr>
            <p:cNvSpPr/>
            <p:nvPr/>
          </p:nvSpPr>
          <p:spPr>
            <a:xfrm>
              <a:off x="6268867" y="6497468"/>
              <a:ext cx="90000" cy="90000"/>
            </a:xfrm>
            <a:prstGeom prst="ellipse">
              <a:avLst/>
            </a:prstGeom>
            <a:solidFill>
              <a:srgbClr val="FAFAFA"/>
            </a:solidFill>
            <a:ln w="1905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algn="ctr"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cs typeface="Arial"/>
              </a:endParaRPr>
            </a:p>
          </p:txBody>
        </p:sp>
      </p:grpSp>
      <p:grpSp>
        <p:nvGrpSpPr>
          <p:cNvPr id="273" name="Grupp 272" descr="benchmark_icon">
            <a:extLst>
              <a:ext uri="{FF2B5EF4-FFF2-40B4-BE49-F238E27FC236}">
                <a16:creationId xmlns:a16="http://schemas.microsoft.com/office/drawing/2014/main" id="{D1745155-3AE9-B193-FD12-2977780AF5C5}"/>
              </a:ext>
            </a:extLst>
          </p:cNvPr>
          <p:cNvGrpSpPr/>
          <p:nvPr/>
        </p:nvGrpSpPr>
        <p:grpSpPr>
          <a:xfrm>
            <a:off x="5066079" y="1640607"/>
            <a:ext cx="228198" cy="50625"/>
            <a:chOff x="6111025" y="6497468"/>
            <a:chExt cx="405685" cy="90000"/>
          </a:xfrm>
        </p:grpSpPr>
        <p:cxnSp>
          <p:nvCxnSpPr>
            <p:cNvPr id="274" name="Rak koppling 273">
              <a:extLst>
                <a:ext uri="{FF2B5EF4-FFF2-40B4-BE49-F238E27FC236}">
                  <a16:creationId xmlns:a16="http://schemas.microsoft.com/office/drawing/2014/main" id="{95138E88-B4DC-3B16-3156-BE4A246F1B0B}"/>
                </a:ext>
              </a:extLst>
            </p:cNvPr>
            <p:cNvCxnSpPr/>
            <p:nvPr/>
          </p:nvCxnSpPr>
          <p:spPr>
            <a:xfrm>
              <a:off x="6111025" y="6542468"/>
              <a:ext cx="405685" cy="0"/>
            </a:xfrm>
            <a:prstGeom prst="line">
              <a:avLst/>
            </a:prstGeom>
            <a:ln w="19050">
              <a:solidFill>
                <a:srgbClr val="BFBFBF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5" name="Ellips 274">
              <a:extLst>
                <a:ext uri="{FF2B5EF4-FFF2-40B4-BE49-F238E27FC236}">
                  <a16:creationId xmlns:a16="http://schemas.microsoft.com/office/drawing/2014/main" id="{33B23ACD-92B8-832D-247C-26474A5D5347}"/>
                </a:ext>
              </a:extLst>
            </p:cNvPr>
            <p:cNvSpPr/>
            <p:nvPr/>
          </p:nvSpPr>
          <p:spPr>
            <a:xfrm>
              <a:off x="6268867" y="6497468"/>
              <a:ext cx="90000" cy="90000"/>
            </a:xfrm>
            <a:prstGeom prst="ellipse">
              <a:avLst/>
            </a:prstGeom>
            <a:solidFill>
              <a:srgbClr val="FAFAFA"/>
            </a:solidFill>
            <a:ln w="19050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algn="ctr"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cs typeface="Arial"/>
              </a:endParaRPr>
            </a:p>
          </p:txBody>
        </p:sp>
      </p:grpSp>
      <p:sp>
        <p:nvSpPr>
          <p:cNvPr id="276" name="textruta 275">
            <a:extLst>
              <a:ext uri="{FF2B5EF4-FFF2-40B4-BE49-F238E27FC236}">
                <a16:creationId xmlns:a16="http://schemas.microsoft.com/office/drawing/2014/main" id="{E10D9278-F80D-4A76-2EE8-8E6CFC243319}"/>
              </a:ext>
            </a:extLst>
          </p:cNvPr>
          <p:cNvSpPr txBox="1"/>
          <p:nvPr/>
        </p:nvSpPr>
        <p:spPr>
          <a:xfrm>
            <a:off x="4307309" y="1605170"/>
            <a:ext cx="745569" cy="121500"/>
          </a:xfrm>
          <a:prstGeom prst="rect">
            <a:avLst/>
          </a:prstGeom>
          <a:noFill/>
        </p:spPr>
        <p:txBody>
          <a:bodyPr wrap="square" tIns="0" bIns="0" rtlCol="0" anchor="ctr">
            <a:norm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14350" fontAlgn="auto">
              <a:spcBef>
                <a:spcPts val="0"/>
              </a:spcBef>
              <a:spcAft>
                <a:spcPts val="0"/>
              </a:spcAft>
            </a:pPr>
            <a:r>
              <a:rPr lang="sv-SE" sz="394">
                <a:solidFill>
                  <a:srgbClr val="000000"/>
                </a:solidFill>
                <a:latin typeface="Arial"/>
                <a:ea typeface="Roboto" panose="02000000000000000000" pitchFamily="2" charset="0"/>
                <a:cs typeface="Arial"/>
              </a:rPr>
              <a:t>Verksamhetsstöd - SCI</a:t>
            </a:r>
          </a:p>
        </p:txBody>
      </p:sp>
      <p:sp>
        <p:nvSpPr>
          <p:cNvPr id="277" name="textruta 276">
            <a:extLst>
              <a:ext uri="{FF2B5EF4-FFF2-40B4-BE49-F238E27FC236}">
                <a16:creationId xmlns:a16="http://schemas.microsoft.com/office/drawing/2014/main" id="{C0C01BBD-AFAB-BC7A-900B-192CD2DC1177}"/>
              </a:ext>
            </a:extLst>
          </p:cNvPr>
          <p:cNvSpPr txBox="1"/>
          <p:nvPr/>
        </p:nvSpPr>
        <p:spPr>
          <a:xfrm>
            <a:off x="5294276" y="1605170"/>
            <a:ext cx="745569" cy="121500"/>
          </a:xfrm>
          <a:prstGeom prst="rect">
            <a:avLst/>
          </a:prstGeom>
          <a:noFill/>
        </p:spPr>
        <p:txBody>
          <a:bodyPr wrap="square" tIns="0" bIns="0" rtlCol="0" anchor="ctr">
            <a:norm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700" kern="120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14350" fontAlgn="auto">
              <a:spcBef>
                <a:spcPts val="0"/>
              </a:spcBef>
              <a:spcAft>
                <a:spcPts val="0"/>
              </a:spcAft>
            </a:pPr>
            <a:r>
              <a:rPr lang="sv-SE" sz="394">
                <a:solidFill>
                  <a:srgbClr val="000000"/>
                </a:solidFill>
                <a:latin typeface="Arial"/>
                <a:cs typeface="Arial"/>
              </a:rPr>
              <a:t>VS - Verksamhetsstöd</a:t>
            </a:r>
          </a:p>
        </p:txBody>
      </p:sp>
    </p:spTree>
    <p:extLst>
      <p:ext uri="{BB962C8B-B14F-4D97-AF65-F5344CB8AC3E}">
        <p14:creationId xmlns:p14="http://schemas.microsoft.com/office/powerpoint/2010/main" val="43153020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22A9A3-8636-4A04-BD48-3153280FB086}" type="slidenum">
              <a:rPr lang="sv-SE" smtClean="0"/>
              <a:t>33</a:t>
            </a:fld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E91D87-1285-6843-BFFA-E098C31F828A}" type="datetime1">
              <a:rPr lang="sv-SE" smtClean="0"/>
              <a:t>2023-09-12</a:t>
            </a:fld>
            <a:endParaRPr lang="sv-SE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TextBox 5"/>
          <p:cNvSpPr txBox="1"/>
          <p:nvPr/>
        </p:nvSpPr>
        <p:spPr>
          <a:xfrm>
            <a:off x="1317575" y="1896256"/>
            <a:ext cx="4039567" cy="8309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sv-SE" sz="5400" b="1" dirty="0" smtClean="0"/>
              <a:t>Bottenfokus</a:t>
            </a:r>
            <a:endParaRPr lang="sv-SE" sz="5400" b="1" dirty="0"/>
          </a:p>
        </p:txBody>
      </p:sp>
    </p:spTree>
    <p:extLst>
      <p:ext uri="{BB962C8B-B14F-4D97-AF65-F5344CB8AC3E}">
        <p14:creationId xmlns:p14="http://schemas.microsoft.com/office/powerpoint/2010/main" val="91425754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nummer 1">
            <a:extLst>
              <a:ext uri="{FF2B5EF4-FFF2-40B4-BE49-F238E27FC236}">
                <a16:creationId xmlns:a16="http://schemas.microsoft.com/office/drawing/2014/main" id="{54E2D41F-25B6-A47E-1616-BCEB35BEA2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422A9A3-8636-4A04-BD48-3153280FB086}" type="slidenum">
              <a:rPr lang="sv-SE">
                <a:solidFill>
                  <a:srgbClr val="000000">
                    <a:tint val="75000"/>
                  </a:srgbClr>
                </a:solidFill>
                <a:latin typeface="Arial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34</a:t>
            </a:fld>
            <a:endParaRPr lang="sv-SE">
              <a:solidFill>
                <a:srgbClr val="000000">
                  <a:tint val="75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82BC58BF-6655-FD31-5B11-27FF2CC9BC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CCE91D87-1285-6843-BFFA-E098C31F828A}" type="datetime1">
              <a:rPr lang="sv-SE">
                <a:solidFill>
                  <a:srgbClr val="000000">
                    <a:tint val="75000"/>
                  </a:srgbClr>
                </a:solidFill>
                <a:latin typeface="Arial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23-09-12</a:t>
            </a:fld>
            <a:endParaRPr lang="sv-SE">
              <a:solidFill>
                <a:srgbClr val="000000">
                  <a:tint val="75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5" name="Rubrik 4">
            <a:extLst>
              <a:ext uri="{FF2B5EF4-FFF2-40B4-BE49-F238E27FC236}">
                <a16:creationId xmlns:a16="http://schemas.microsoft.com/office/drawing/2014/main" id="{4A53245C-68FA-2312-C7CF-24F7E4D6D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[Fokus] Fysisk arbetsmiljö 8: 33 / 100</a:t>
            </a:r>
          </a:p>
        </p:txBody>
      </p:sp>
      <p:sp>
        <p:nvSpPr>
          <p:cNvPr id="318" name="Rubrik 4">
            <a:extLst>
              <a:ext uri="{FF2B5EF4-FFF2-40B4-BE49-F238E27FC236}">
                <a16:creationId xmlns:a16="http://schemas.microsoft.com/office/drawing/2014/main" id="{73C33D2D-F8AB-A3A0-2706-F4E3D9F2C286}"/>
              </a:ext>
            </a:extLst>
          </p:cNvPr>
          <p:cNvSpPr txBox="1"/>
          <p:nvPr/>
        </p:nvSpPr>
        <p:spPr>
          <a:xfrm>
            <a:off x="850260" y="1196222"/>
            <a:ext cx="5822896" cy="29825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sv-SE"/>
            </a:defPPr>
            <a:lvl1pPr marL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14350" fontAlgn="auto">
              <a:spcAft>
                <a:spcPts val="0"/>
              </a:spcAft>
            </a:pPr>
            <a:r>
              <a:rPr lang="en-US" sz="1125" b="0">
                <a:solidFill>
                  <a:srgbClr val="000000"/>
                </a:solidFill>
                <a:latin typeface="Arial"/>
                <a:cs typeface="Arial"/>
              </a:rPr>
              <a:t>'Det har genomförts utrymningsövning på min arbetsplats under de senaste 12 månaderna '</a:t>
            </a:r>
          </a:p>
        </p:txBody>
      </p:sp>
      <p:sp>
        <p:nvSpPr>
          <p:cNvPr id="264" name="Rektangel: rundade hörn 263">
            <a:extLst>
              <a:ext uri="{FF2B5EF4-FFF2-40B4-BE49-F238E27FC236}">
                <a16:creationId xmlns:a16="http://schemas.microsoft.com/office/drawing/2014/main" id="{94C18F0C-33EA-BF62-00AA-6BF77CB14A12}"/>
              </a:ext>
            </a:extLst>
          </p:cNvPr>
          <p:cNvSpPr/>
          <p:nvPr/>
        </p:nvSpPr>
        <p:spPr>
          <a:xfrm>
            <a:off x="471488" y="1532891"/>
            <a:ext cx="2896958" cy="2613342"/>
          </a:xfrm>
          <a:prstGeom prst="roundRect">
            <a:avLst>
              <a:gd name="adj" fmla="val 1816"/>
            </a:avLst>
          </a:prstGeom>
          <a:noFill/>
          <a:ln w="2857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</a:pPr>
            <a:endParaRPr lang="sv-SE" sz="760">
              <a:solidFill>
                <a:srgbClr val="000000"/>
              </a:solidFill>
              <a:cs typeface="Arial"/>
            </a:endParaRPr>
          </a:p>
        </p:txBody>
      </p:sp>
      <p:sp>
        <p:nvSpPr>
          <p:cNvPr id="265" name="Rektangel: rundade hörn 264">
            <a:extLst>
              <a:ext uri="{FF2B5EF4-FFF2-40B4-BE49-F238E27FC236}">
                <a16:creationId xmlns:a16="http://schemas.microsoft.com/office/drawing/2014/main" id="{7BA446F5-192D-A008-9E9F-99815E1E6959}"/>
              </a:ext>
            </a:extLst>
          </p:cNvPr>
          <p:cNvSpPr/>
          <p:nvPr/>
        </p:nvSpPr>
        <p:spPr>
          <a:xfrm>
            <a:off x="1519444" y="1454371"/>
            <a:ext cx="797505" cy="150567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2857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01250" tIns="10125" rIns="101250" bIns="10125" rtlCol="0" anchor="ctr">
            <a:sp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</a:pPr>
            <a:r>
              <a:rPr lang="sv-SE" sz="563" b="1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Svarsfördelning</a:t>
            </a:r>
          </a:p>
        </p:txBody>
      </p:sp>
      <p:graphicFrame>
        <p:nvGraphicFramePr>
          <p:cNvPr id="266" name="Chart 24">
            <a:extLst>
              <a:ext uri="{FF2B5EF4-FFF2-40B4-BE49-F238E27FC236}">
                <a16:creationId xmlns:a16="http://schemas.microsoft.com/office/drawing/2014/main" id="{29508722-A7C9-022A-D505-2358F818F020}"/>
              </a:ext>
            </a:extLst>
          </p:cNvPr>
          <p:cNvGraphicFramePr/>
          <p:nvPr>
            <p:extLst/>
          </p:nvPr>
        </p:nvGraphicFramePr>
        <p:xfrm>
          <a:off x="471275" y="1673168"/>
          <a:ext cx="2926422" cy="23301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67" name="Rektangel: rundade hörn 266">
            <a:extLst>
              <a:ext uri="{FF2B5EF4-FFF2-40B4-BE49-F238E27FC236}">
                <a16:creationId xmlns:a16="http://schemas.microsoft.com/office/drawing/2014/main" id="{4B7CEC0B-D326-18B3-AD70-10235FAC8E41}"/>
              </a:ext>
            </a:extLst>
          </p:cNvPr>
          <p:cNvSpPr/>
          <p:nvPr/>
        </p:nvSpPr>
        <p:spPr>
          <a:xfrm>
            <a:off x="3489555" y="1532891"/>
            <a:ext cx="2896958" cy="2613342"/>
          </a:xfrm>
          <a:prstGeom prst="roundRect">
            <a:avLst>
              <a:gd name="adj" fmla="val 1816"/>
            </a:avLst>
          </a:prstGeom>
          <a:noFill/>
          <a:ln w="2857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</a:pPr>
            <a:endParaRPr lang="sv-SE" sz="760">
              <a:solidFill>
                <a:srgbClr val="000000"/>
              </a:solidFill>
              <a:cs typeface="Arial"/>
            </a:endParaRPr>
          </a:p>
        </p:txBody>
      </p:sp>
      <p:sp>
        <p:nvSpPr>
          <p:cNvPr id="268" name="Rektangel: rundade hörn 267">
            <a:extLst>
              <a:ext uri="{FF2B5EF4-FFF2-40B4-BE49-F238E27FC236}">
                <a16:creationId xmlns:a16="http://schemas.microsoft.com/office/drawing/2014/main" id="{61C7A89C-1D73-2E4A-C0C8-DFCA4903FB63}"/>
              </a:ext>
            </a:extLst>
          </p:cNvPr>
          <p:cNvSpPr/>
          <p:nvPr/>
        </p:nvSpPr>
        <p:spPr>
          <a:xfrm>
            <a:off x="4461886" y="1454482"/>
            <a:ext cx="948752" cy="150567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2857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01250" tIns="10125" rIns="101250" bIns="10125" rtlCol="0" anchor="ctr">
            <a:sp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rgbClr val="FFFFFF"/>
                </a:solidFill>
                <a:latin typeface="Arial"/>
                <a:ea typeface="+mn-ea"/>
                <a:cs typeface="+mn-cs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</a:pPr>
            <a:r>
              <a:rPr lang="sv-SE" sz="563" b="1">
                <a:solidFill>
                  <a:srgbClr val="000000"/>
                </a:solidFill>
                <a:ea typeface="Roboto" panose="02000000000000000000" pitchFamily="2" charset="0"/>
                <a:cs typeface="Arial" panose="020B0604020202020204" pitchFamily="34" charset="0"/>
              </a:rPr>
              <a:t>Tidslinje för resultat</a:t>
            </a:r>
          </a:p>
        </p:txBody>
      </p:sp>
      <p:graphicFrame>
        <p:nvGraphicFramePr>
          <p:cNvPr id="269" name="Chart 11">
            <a:extLst>
              <a:ext uri="{FF2B5EF4-FFF2-40B4-BE49-F238E27FC236}">
                <a16:creationId xmlns:a16="http://schemas.microsoft.com/office/drawing/2014/main" id="{1FB872A8-EE5F-4F0F-B36C-DAF3F991C3B4}"/>
              </a:ext>
            </a:extLst>
          </p:cNvPr>
          <p:cNvGraphicFramePr/>
          <p:nvPr>
            <p:extLst/>
          </p:nvPr>
        </p:nvGraphicFramePr>
        <p:xfrm>
          <a:off x="3489554" y="1553153"/>
          <a:ext cx="2896959" cy="25759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270" name="Grupp 269" descr="scope_icon">
            <a:extLst>
              <a:ext uri="{FF2B5EF4-FFF2-40B4-BE49-F238E27FC236}">
                <a16:creationId xmlns:a16="http://schemas.microsoft.com/office/drawing/2014/main" id="{E47FABD1-ACA6-9B47-3365-5D701290A313}"/>
              </a:ext>
            </a:extLst>
          </p:cNvPr>
          <p:cNvGrpSpPr/>
          <p:nvPr/>
        </p:nvGrpSpPr>
        <p:grpSpPr>
          <a:xfrm>
            <a:off x="4079111" y="1640607"/>
            <a:ext cx="228198" cy="50625"/>
            <a:chOff x="6111025" y="6497468"/>
            <a:chExt cx="405685" cy="90000"/>
          </a:xfrm>
        </p:grpSpPr>
        <p:cxnSp>
          <p:nvCxnSpPr>
            <p:cNvPr id="271" name="Rak koppling 270">
              <a:extLst>
                <a:ext uri="{FF2B5EF4-FFF2-40B4-BE49-F238E27FC236}">
                  <a16:creationId xmlns:a16="http://schemas.microsoft.com/office/drawing/2014/main" id="{E53DC10E-D490-120C-2F80-78124418044B}"/>
                </a:ext>
              </a:extLst>
            </p:cNvPr>
            <p:cNvCxnSpPr/>
            <p:nvPr/>
          </p:nvCxnSpPr>
          <p:spPr>
            <a:xfrm>
              <a:off x="6111025" y="6542468"/>
              <a:ext cx="405685" cy="0"/>
            </a:xfrm>
            <a:prstGeom prst="line">
              <a:avLst/>
            </a:prstGeom>
            <a:ln w="19050"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2" name="Ellips 271">
              <a:extLst>
                <a:ext uri="{FF2B5EF4-FFF2-40B4-BE49-F238E27FC236}">
                  <a16:creationId xmlns:a16="http://schemas.microsoft.com/office/drawing/2014/main" id="{C3FA065E-7ECB-2971-983C-3F2B6B9623D7}"/>
                </a:ext>
              </a:extLst>
            </p:cNvPr>
            <p:cNvSpPr/>
            <p:nvPr/>
          </p:nvSpPr>
          <p:spPr>
            <a:xfrm>
              <a:off x="6268867" y="6497468"/>
              <a:ext cx="90000" cy="90000"/>
            </a:xfrm>
            <a:prstGeom prst="ellipse">
              <a:avLst/>
            </a:prstGeom>
            <a:solidFill>
              <a:srgbClr val="FAFAFA"/>
            </a:solidFill>
            <a:ln w="19050">
              <a:solidFill>
                <a:srgbClr val="4D4D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algn="ctr"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cs typeface="Arial"/>
              </a:endParaRPr>
            </a:p>
          </p:txBody>
        </p:sp>
      </p:grpSp>
      <p:grpSp>
        <p:nvGrpSpPr>
          <p:cNvPr id="273" name="Grupp 272" descr="benchmark_icon">
            <a:extLst>
              <a:ext uri="{FF2B5EF4-FFF2-40B4-BE49-F238E27FC236}">
                <a16:creationId xmlns:a16="http://schemas.microsoft.com/office/drawing/2014/main" id="{D1745155-3AE9-B193-FD12-2977780AF5C5}"/>
              </a:ext>
            </a:extLst>
          </p:cNvPr>
          <p:cNvGrpSpPr/>
          <p:nvPr/>
        </p:nvGrpSpPr>
        <p:grpSpPr>
          <a:xfrm>
            <a:off x="5066079" y="1640607"/>
            <a:ext cx="228198" cy="50625"/>
            <a:chOff x="6111025" y="6497468"/>
            <a:chExt cx="405685" cy="90000"/>
          </a:xfrm>
        </p:grpSpPr>
        <p:cxnSp>
          <p:nvCxnSpPr>
            <p:cNvPr id="274" name="Rak koppling 273">
              <a:extLst>
                <a:ext uri="{FF2B5EF4-FFF2-40B4-BE49-F238E27FC236}">
                  <a16:creationId xmlns:a16="http://schemas.microsoft.com/office/drawing/2014/main" id="{95138E88-B4DC-3B16-3156-BE4A246F1B0B}"/>
                </a:ext>
              </a:extLst>
            </p:cNvPr>
            <p:cNvCxnSpPr/>
            <p:nvPr/>
          </p:nvCxnSpPr>
          <p:spPr>
            <a:xfrm>
              <a:off x="6111025" y="6542468"/>
              <a:ext cx="405685" cy="0"/>
            </a:xfrm>
            <a:prstGeom prst="line">
              <a:avLst/>
            </a:prstGeom>
            <a:ln w="19050">
              <a:solidFill>
                <a:srgbClr val="BFBFBF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5" name="Ellips 274">
              <a:extLst>
                <a:ext uri="{FF2B5EF4-FFF2-40B4-BE49-F238E27FC236}">
                  <a16:creationId xmlns:a16="http://schemas.microsoft.com/office/drawing/2014/main" id="{33B23ACD-92B8-832D-247C-26474A5D5347}"/>
                </a:ext>
              </a:extLst>
            </p:cNvPr>
            <p:cNvSpPr/>
            <p:nvPr/>
          </p:nvSpPr>
          <p:spPr>
            <a:xfrm>
              <a:off x="6268867" y="6497468"/>
              <a:ext cx="90000" cy="90000"/>
            </a:xfrm>
            <a:prstGeom prst="ellipse">
              <a:avLst/>
            </a:prstGeom>
            <a:solidFill>
              <a:srgbClr val="FAFAFA"/>
            </a:solidFill>
            <a:ln w="19050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sv-SE"/>
              </a:defPPr>
              <a:lvl1pPr marL="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rgbClr val="FFFFFF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algn="ctr" defTabSz="514350" fontAlgn="auto">
                <a:spcBef>
                  <a:spcPts val="0"/>
                </a:spcBef>
                <a:spcAft>
                  <a:spcPts val="0"/>
                </a:spcAft>
              </a:pPr>
              <a:endParaRPr lang="sv-SE" sz="760">
                <a:solidFill>
                  <a:srgbClr val="000000"/>
                </a:solidFill>
                <a:cs typeface="Arial"/>
              </a:endParaRPr>
            </a:p>
          </p:txBody>
        </p:sp>
      </p:grpSp>
      <p:sp>
        <p:nvSpPr>
          <p:cNvPr id="276" name="textruta 275">
            <a:extLst>
              <a:ext uri="{FF2B5EF4-FFF2-40B4-BE49-F238E27FC236}">
                <a16:creationId xmlns:a16="http://schemas.microsoft.com/office/drawing/2014/main" id="{E10D9278-F80D-4A76-2EE8-8E6CFC243319}"/>
              </a:ext>
            </a:extLst>
          </p:cNvPr>
          <p:cNvSpPr txBox="1"/>
          <p:nvPr/>
        </p:nvSpPr>
        <p:spPr>
          <a:xfrm>
            <a:off x="4307309" y="1605170"/>
            <a:ext cx="745569" cy="121500"/>
          </a:xfrm>
          <a:prstGeom prst="rect">
            <a:avLst/>
          </a:prstGeom>
          <a:noFill/>
        </p:spPr>
        <p:txBody>
          <a:bodyPr wrap="square" tIns="0" bIns="0" rtlCol="0" anchor="ctr">
            <a:norm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14350" fontAlgn="auto">
              <a:spcBef>
                <a:spcPts val="0"/>
              </a:spcBef>
              <a:spcAft>
                <a:spcPts val="0"/>
              </a:spcAft>
            </a:pPr>
            <a:r>
              <a:rPr lang="sv-SE" sz="394">
                <a:solidFill>
                  <a:srgbClr val="000000"/>
                </a:solidFill>
                <a:latin typeface="Arial"/>
                <a:ea typeface="Roboto" panose="02000000000000000000" pitchFamily="2" charset="0"/>
                <a:cs typeface="Arial"/>
              </a:rPr>
              <a:t>Verksamhetsstöd - SCI</a:t>
            </a:r>
          </a:p>
        </p:txBody>
      </p:sp>
      <p:sp>
        <p:nvSpPr>
          <p:cNvPr id="277" name="textruta 276">
            <a:extLst>
              <a:ext uri="{FF2B5EF4-FFF2-40B4-BE49-F238E27FC236}">
                <a16:creationId xmlns:a16="http://schemas.microsoft.com/office/drawing/2014/main" id="{C0C01BBD-AFAB-BC7A-900B-192CD2DC1177}"/>
              </a:ext>
            </a:extLst>
          </p:cNvPr>
          <p:cNvSpPr txBox="1"/>
          <p:nvPr/>
        </p:nvSpPr>
        <p:spPr>
          <a:xfrm>
            <a:off x="5294276" y="1605170"/>
            <a:ext cx="745569" cy="121500"/>
          </a:xfrm>
          <a:prstGeom prst="rect">
            <a:avLst/>
          </a:prstGeom>
          <a:noFill/>
        </p:spPr>
        <p:txBody>
          <a:bodyPr wrap="square" tIns="0" bIns="0" rtlCol="0" anchor="ctr">
            <a:normAutofit/>
          </a:bodyPr>
          <a:lstStyle>
            <a:defPPr>
              <a:defRPr lang="sv-SE"/>
            </a:defPPr>
            <a:lvl1pPr marL="0" algn="l" defTabSz="685800" rtl="0" eaLnBrk="1" latinLnBrk="0" hangingPunct="1">
              <a:defRPr sz="700" kern="120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14350" fontAlgn="auto">
              <a:spcBef>
                <a:spcPts val="0"/>
              </a:spcBef>
              <a:spcAft>
                <a:spcPts val="0"/>
              </a:spcAft>
            </a:pPr>
            <a:r>
              <a:rPr lang="sv-SE" sz="394">
                <a:solidFill>
                  <a:srgbClr val="000000"/>
                </a:solidFill>
                <a:latin typeface="Arial"/>
                <a:cs typeface="Arial"/>
              </a:rPr>
              <a:t>VS - Verksamhetsstöd</a:t>
            </a:r>
          </a:p>
        </p:txBody>
      </p:sp>
    </p:spTree>
    <p:extLst>
      <p:ext uri="{BB962C8B-B14F-4D97-AF65-F5344CB8AC3E}">
        <p14:creationId xmlns:p14="http://schemas.microsoft.com/office/powerpoint/2010/main" val="222903401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527FB4B-7893-4946-9C41-FB1EB79145A0}" type="slidenum">
              <a:rPr lang="sv-SE" smtClean="0"/>
              <a:t>35</a:t>
            </a:fld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A612C29-4FF1-4A4F-A907-03CBB0EDED27}" type="datetime1">
              <a:rPr lang="sv-SE" smtClean="0"/>
              <a:t>2023-09-12</a:t>
            </a:fld>
            <a:endParaRPr lang="sv-SE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sv-SE" sz="4000" dirty="0"/>
              <a:t>14 nov - 22 nov		</a:t>
            </a:r>
            <a:endParaRPr lang="sv-SE" sz="4000" dirty="0" smtClean="0"/>
          </a:p>
          <a:p>
            <a:pPr marL="0" indent="0">
              <a:buNone/>
            </a:pPr>
            <a:r>
              <a:rPr lang="en-US" sz="2800" dirty="0" smtClean="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Digital </a:t>
            </a:r>
            <a:r>
              <a:rPr lang="en-US" sz="2800" dirty="0" err="1" smtClean="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arbetsmiljö</a:t>
            </a:r>
            <a:endParaRPr lang="en-US" sz="1800" dirty="0"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sv-SE" sz="4000" b="1" dirty="0"/>
              <a:t>	</a:t>
            </a:r>
            <a:r>
              <a:rPr lang="sv-SE" dirty="0"/>
              <a:t>	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Nästa medarbetarundersökning…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46732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527FB4B-7893-4946-9C41-FB1EB79145A0}" type="slidenum">
              <a:rPr lang="sv-SE" smtClean="0"/>
              <a:t>36</a:t>
            </a:fld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A612C29-4FF1-4A4F-A907-03CBB0EDED27}" type="datetime1">
              <a:rPr lang="sv-SE" smtClean="0"/>
              <a:t>2023-09-12</a:t>
            </a:fld>
            <a:endParaRPr lang="sv-SE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sv-SE" dirty="0">
                <a:hlinkClick r:id="rId2"/>
              </a:rPr>
              <a:t>Utveckling av verksamhetsstödet | KTH Intranät</a:t>
            </a:r>
            <a:endParaRPr lang="sv-SE" dirty="0" smtClean="0">
              <a:hlinkClick r:id="rId3"/>
            </a:endParaRPr>
          </a:p>
          <a:p>
            <a:pPr marL="0" indent="0">
              <a:buNone/>
            </a:pPr>
            <a:endParaRPr lang="sv-SE" dirty="0">
              <a:hlinkClick r:id="rId3"/>
            </a:endParaRPr>
          </a:p>
          <a:p>
            <a:pPr marL="0" indent="0">
              <a:buNone/>
            </a:pPr>
            <a:r>
              <a:rPr lang="sv-SE" dirty="0" smtClean="0">
                <a:hlinkClick r:id="rId3"/>
              </a:rPr>
              <a:t>Beslut </a:t>
            </a:r>
            <a:r>
              <a:rPr lang="sv-SE" dirty="0">
                <a:hlinkClick r:id="rId3"/>
              </a:rPr>
              <a:t>och tidplan för utveckling av verksamhetsstödet | KTH Intranät</a:t>
            </a:r>
            <a:endParaRPr lang="sv-SE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solidFill>
                  <a:schemeClr val="accent1"/>
                </a:solidFill>
              </a:rPr>
              <a:t>P</a:t>
            </a:r>
            <a:r>
              <a:rPr lang="sv-SE" dirty="0" smtClean="0">
                <a:solidFill>
                  <a:schemeClr val="accent1"/>
                </a:solidFill>
              </a:rPr>
              <a:t>rogramdirektivet &amp; samgåendet 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295876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527FB4B-7893-4946-9C41-FB1EB79145A0}" type="slidenum">
              <a:rPr lang="sv-SE" smtClean="0"/>
              <a:t>37</a:t>
            </a:fld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A612C29-4FF1-4A4F-A907-03CBB0EDED27}" type="datetime1">
              <a:rPr lang="sv-SE" smtClean="0"/>
              <a:t>2023-09-12</a:t>
            </a:fld>
            <a:endParaRPr lang="sv-SE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sv-SE" b="1" dirty="0" smtClean="0"/>
              <a:t>Ekonomiområdet</a:t>
            </a:r>
          </a:p>
          <a:p>
            <a:pPr marL="0" indent="0">
              <a:buNone/>
            </a:pPr>
            <a:r>
              <a:rPr lang="sv-SE" dirty="0" smtClean="0"/>
              <a:t>Beslut </a:t>
            </a:r>
            <a:r>
              <a:rPr lang="sv-SE" dirty="0"/>
              <a:t>om samordning av reskontrafunktionen vid </a:t>
            </a:r>
            <a:r>
              <a:rPr lang="sv-SE" dirty="0" smtClean="0"/>
              <a:t>KTH</a:t>
            </a:r>
          </a:p>
          <a:p>
            <a:pPr marL="0" indent="0">
              <a:buNone/>
            </a:pPr>
            <a:r>
              <a:rPr lang="sv-SE" dirty="0" smtClean="0"/>
              <a:t>Flytt sker innan årsbokslutet 2023-11-01</a:t>
            </a:r>
            <a:endParaRPr lang="sv-SE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solidFill>
                  <a:schemeClr val="accent1"/>
                </a:solidFill>
              </a:rPr>
              <a:t>Programdirektivet &amp; samgåendet 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262546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527FB4B-7893-4946-9C41-FB1EB79145A0}" type="slidenum">
              <a:rPr lang="sv-SE" smtClean="0"/>
              <a:t>38</a:t>
            </a:fld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A612C29-4FF1-4A4F-A907-03CBB0EDED27}" type="datetime1">
              <a:rPr lang="sv-SE" smtClean="0"/>
              <a:t>2023-09-12</a:t>
            </a:fld>
            <a:endParaRPr lang="sv-SE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sv-SE" b="1" dirty="0" smtClean="0"/>
              <a:t>Utbildningsområdet </a:t>
            </a:r>
            <a:r>
              <a:rPr lang="sv-SE" dirty="0" smtClean="0"/>
              <a:t>= Examinationsadministration</a:t>
            </a:r>
          </a:p>
          <a:p>
            <a:pPr marL="0" indent="0">
              <a:buNone/>
            </a:pPr>
            <a:r>
              <a:rPr lang="sv-SE" b="1" i="1" dirty="0" smtClean="0"/>
              <a:t>Pilotstudie</a:t>
            </a:r>
            <a:r>
              <a:rPr lang="sv-SE" b="1" dirty="0" smtClean="0"/>
              <a:t> </a:t>
            </a:r>
            <a:r>
              <a:rPr lang="sv-SE" dirty="0" smtClean="0"/>
              <a:t>gällande ett </a:t>
            </a:r>
            <a:r>
              <a:rPr lang="sv-SE" dirty="0"/>
              <a:t>gemensamt/enhetligt förberedelse- och planeringsarbete inför tentamensperiod </a:t>
            </a:r>
          </a:p>
          <a:p>
            <a:pPr>
              <a:spcBef>
                <a:spcPts val="200"/>
              </a:spcBef>
            </a:pPr>
            <a:r>
              <a:rPr lang="sv-SE" dirty="0"/>
              <a:t>Koordinerad/samordnad bokning av vakter via </a:t>
            </a:r>
            <a:r>
              <a:rPr lang="sv-SE" dirty="0" err="1"/>
              <a:t>TentaAdmin</a:t>
            </a:r>
            <a:r>
              <a:rPr lang="sv-SE" dirty="0"/>
              <a:t>-systemet </a:t>
            </a:r>
            <a:r>
              <a:rPr lang="en-US" dirty="0"/>
              <a:t>​</a:t>
            </a:r>
          </a:p>
          <a:p>
            <a:pPr>
              <a:spcBef>
                <a:spcPts val="200"/>
              </a:spcBef>
            </a:pPr>
            <a:r>
              <a:rPr lang="en-US" dirty="0" err="1"/>
              <a:t>Placering</a:t>
            </a:r>
            <a:r>
              <a:rPr lang="en-US" dirty="0"/>
              <a:t> </a:t>
            </a:r>
            <a:r>
              <a:rPr lang="en-US" dirty="0" err="1"/>
              <a:t>av</a:t>
            </a:r>
            <a:r>
              <a:rPr lang="en-US" dirty="0"/>
              <a:t> </a:t>
            </a:r>
            <a:r>
              <a:rPr lang="en-US" dirty="0" err="1"/>
              <a:t>tentander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sal</a:t>
            </a:r>
            <a:r>
              <a:rPr lang="en-US" dirty="0"/>
              <a:t> </a:t>
            </a:r>
          </a:p>
          <a:p>
            <a:pPr>
              <a:spcBef>
                <a:spcPts val="200"/>
              </a:spcBef>
            </a:pPr>
            <a:r>
              <a:rPr lang="sv-SE" dirty="0"/>
              <a:t>Gemensam ut-/inlämningsställe </a:t>
            </a:r>
            <a:r>
              <a:rPr lang="en-US" dirty="0"/>
              <a:t>​</a:t>
            </a:r>
            <a:r>
              <a:rPr lang="en-US" dirty="0" err="1"/>
              <a:t>för</a:t>
            </a:r>
            <a:r>
              <a:rPr lang="en-US" dirty="0"/>
              <a:t> </a:t>
            </a:r>
            <a:r>
              <a:rPr lang="en-US" dirty="0" err="1"/>
              <a:t>vakter</a:t>
            </a:r>
            <a:endParaRPr lang="en-US" dirty="0"/>
          </a:p>
          <a:p>
            <a:pPr>
              <a:spcBef>
                <a:spcPts val="200"/>
              </a:spcBef>
            </a:pPr>
            <a:r>
              <a:rPr lang="sv-SE" dirty="0"/>
              <a:t>Enhetligt boxinnehåll (försättsblad på box, namnlistor, </a:t>
            </a:r>
            <a:r>
              <a:rPr lang="sv-SE" dirty="0" smtClean="0"/>
              <a:t>ordningsregler </a:t>
            </a:r>
            <a:r>
              <a:rPr lang="sv-SE" dirty="0" err="1"/>
              <a:t>etc</a:t>
            </a:r>
            <a:r>
              <a:rPr lang="sv-SE" dirty="0" smtClean="0"/>
              <a:t>)</a:t>
            </a:r>
          </a:p>
          <a:p>
            <a:pPr>
              <a:spcBef>
                <a:spcPts val="200"/>
              </a:spcBef>
            </a:pPr>
            <a:endParaRPr lang="sv-SE" dirty="0"/>
          </a:p>
          <a:p>
            <a:pPr marL="0" indent="0">
              <a:spcBef>
                <a:spcPts val="200"/>
              </a:spcBef>
              <a:buNone/>
            </a:pPr>
            <a:r>
              <a:rPr lang="sv-SE" dirty="0" smtClean="0"/>
              <a:t>OM-tentaperioden i </a:t>
            </a:r>
            <a:r>
              <a:rPr lang="sv-SE" dirty="0" smtClean="0"/>
              <a:t>december  (18-21/12) !</a:t>
            </a:r>
            <a:endParaRPr lang="sv-SE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solidFill>
                  <a:schemeClr val="accent1"/>
                </a:solidFill>
              </a:rPr>
              <a:t>Programdirektivet &amp; samgåendet 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82802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527FB4B-7893-4946-9C41-FB1EB79145A0}" type="slidenum">
              <a:rPr lang="sv-SE" smtClean="0"/>
              <a:t>39</a:t>
            </a:fld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A612C29-4FF1-4A4F-A907-03CBB0EDED27}" type="datetime1">
              <a:rPr lang="sv-SE" smtClean="0"/>
              <a:t>2023-09-12</a:t>
            </a:fld>
            <a:endParaRPr lang="sv-SE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sv-SE" b="1" dirty="0" smtClean="0"/>
              <a:t>Ledningsstöd</a:t>
            </a:r>
          </a:p>
          <a:p>
            <a:pPr marL="0" indent="0">
              <a:buNone/>
            </a:pPr>
            <a:r>
              <a:rPr lang="sv-SE" dirty="0" smtClean="0"/>
              <a:t>Införande av skolnämnder = andra krav på skolkanslierna!</a:t>
            </a:r>
          </a:p>
          <a:p>
            <a:pPr marL="0" indent="0">
              <a:buNone/>
            </a:pPr>
            <a:r>
              <a:rPr lang="sv-SE" dirty="0" smtClean="0"/>
              <a:t>Mer formella krav på</a:t>
            </a:r>
            <a:br>
              <a:rPr lang="sv-SE" dirty="0" smtClean="0"/>
            </a:br>
            <a:r>
              <a:rPr lang="sv-SE" dirty="0" smtClean="0"/>
              <a:t>- utökat beredningsarbete </a:t>
            </a:r>
            <a:br>
              <a:rPr lang="sv-SE" dirty="0" smtClean="0"/>
            </a:br>
            <a:r>
              <a:rPr lang="sv-SE" dirty="0" smtClean="0"/>
              <a:t>- underlag</a:t>
            </a:r>
            <a:r>
              <a:rPr lang="sv-SE" dirty="0"/>
              <a:t/>
            </a:r>
            <a:br>
              <a:rPr lang="sv-SE" dirty="0"/>
            </a:br>
            <a:r>
              <a:rPr lang="sv-SE" dirty="0" smtClean="0"/>
              <a:t>- protokoll </a:t>
            </a:r>
            <a:br>
              <a:rPr lang="sv-SE" dirty="0" smtClean="0"/>
            </a:br>
            <a:r>
              <a:rPr lang="sv-SE" dirty="0" smtClean="0"/>
              <a:t>- beslut</a:t>
            </a:r>
            <a:endParaRPr lang="sv-SE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solidFill>
                  <a:schemeClr val="accent1"/>
                </a:solidFill>
              </a:rPr>
              <a:t>Programdirektivet &amp; samgåendet 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579875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527FB4B-7893-4946-9C41-FB1EB79145A0}" type="slidenum">
              <a:rPr lang="sv-SE" smtClean="0"/>
              <a:t>4</a:t>
            </a:fld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A612C29-4FF1-4A4F-A907-03CBB0EDED27}" type="datetime1">
              <a:rPr lang="sv-SE" smtClean="0"/>
              <a:t>2023-09-12</a:t>
            </a:fld>
            <a:endParaRPr lang="sv-SE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1081549" y="1198472"/>
            <a:ext cx="4836031" cy="3708990"/>
          </a:xfrm>
        </p:spPr>
        <p:txBody>
          <a:bodyPr/>
          <a:lstStyle/>
          <a:p>
            <a:pPr marL="0" indent="0">
              <a:buNone/>
            </a:pPr>
            <a:r>
              <a:rPr lang="sv-SE" sz="1800" b="1" dirty="0" smtClean="0">
                <a:solidFill>
                  <a:schemeClr val="accent1"/>
                </a:solidFill>
              </a:rPr>
              <a:t>På Skolkansliet</a:t>
            </a:r>
          </a:p>
          <a:p>
            <a:pPr marL="0" indent="0">
              <a:buNone/>
            </a:pPr>
            <a:endParaRPr lang="sv-SE" sz="1800" b="1" dirty="0" smtClean="0">
              <a:solidFill>
                <a:schemeClr val="accent1"/>
              </a:solidFill>
            </a:endParaRPr>
          </a:p>
          <a:p>
            <a:pPr marL="0" indent="0">
              <a:buNone/>
            </a:pPr>
            <a:r>
              <a:rPr lang="sv-SE" sz="1800" b="1" dirty="0" smtClean="0">
                <a:solidFill>
                  <a:schemeClr val="accent1"/>
                </a:solidFill>
              </a:rPr>
              <a:t>Annette Grahn</a:t>
            </a:r>
            <a:br>
              <a:rPr lang="sv-SE" sz="1800" b="1" dirty="0" smtClean="0">
                <a:solidFill>
                  <a:schemeClr val="accent1"/>
                </a:solidFill>
              </a:rPr>
            </a:br>
            <a:r>
              <a:rPr lang="sv-SE" sz="1800" dirty="0">
                <a:solidFill>
                  <a:schemeClr val="accent1"/>
                </a:solidFill>
              </a:rPr>
              <a:t>L</a:t>
            </a:r>
            <a:r>
              <a:rPr lang="sv-SE" sz="1800" dirty="0" smtClean="0">
                <a:solidFill>
                  <a:schemeClr val="accent1"/>
                </a:solidFill>
              </a:rPr>
              <a:t>edningsstöd  - började </a:t>
            </a:r>
            <a:r>
              <a:rPr lang="sv-SE" sz="1800" b="1" dirty="0" smtClean="0">
                <a:solidFill>
                  <a:schemeClr val="accent1"/>
                </a:solidFill>
              </a:rPr>
              <a:t>14 augusti</a:t>
            </a:r>
          </a:p>
          <a:p>
            <a:pPr marL="0" indent="0">
              <a:buNone/>
            </a:pPr>
            <a:endParaRPr lang="sv-SE" sz="1800" b="1" dirty="0">
              <a:solidFill>
                <a:schemeClr val="accent1"/>
              </a:solidFill>
            </a:endParaRPr>
          </a:p>
          <a:p>
            <a:pPr marL="0" indent="0" algn="r">
              <a:buNone/>
            </a:pPr>
            <a:endParaRPr lang="sv-SE" sz="1800" b="1" dirty="0" smtClean="0">
              <a:solidFill>
                <a:srgbClr val="1954A6"/>
              </a:solidFill>
            </a:endParaRPr>
          </a:p>
          <a:p>
            <a:pPr marL="0" indent="0" algn="r">
              <a:buNone/>
            </a:pPr>
            <a:endParaRPr lang="sv-SE" sz="1800" b="1" dirty="0" smtClean="0">
              <a:solidFill>
                <a:srgbClr val="1954A6"/>
              </a:solidFill>
            </a:endParaRPr>
          </a:p>
          <a:p>
            <a:pPr marL="0" indent="0" algn="r">
              <a:buNone/>
            </a:pPr>
            <a:endParaRPr lang="sv-SE" sz="1800" b="1" dirty="0">
              <a:solidFill>
                <a:srgbClr val="1954A6"/>
              </a:solidFill>
            </a:endParaRPr>
          </a:p>
          <a:p>
            <a:pPr marL="0" indent="0" algn="r">
              <a:buNone/>
            </a:pPr>
            <a:r>
              <a:rPr lang="sv-SE" sz="1800" b="1" dirty="0" smtClean="0">
                <a:solidFill>
                  <a:srgbClr val="1954A6"/>
                </a:solidFill>
              </a:rPr>
              <a:t>Karl </a:t>
            </a:r>
            <a:r>
              <a:rPr lang="sv-SE" sz="1800" b="1" dirty="0">
                <a:solidFill>
                  <a:srgbClr val="1954A6"/>
                </a:solidFill>
              </a:rPr>
              <a:t>Henning</a:t>
            </a:r>
            <a:br>
              <a:rPr lang="sv-SE" sz="1800" b="1" dirty="0">
                <a:solidFill>
                  <a:srgbClr val="1954A6"/>
                </a:solidFill>
              </a:rPr>
            </a:br>
            <a:r>
              <a:rPr lang="sv-SE" sz="1800" dirty="0">
                <a:solidFill>
                  <a:srgbClr val="1954A6"/>
                </a:solidFill>
              </a:rPr>
              <a:t>HR-handläggare </a:t>
            </a:r>
            <a:r>
              <a:rPr lang="sv-SE" sz="1800" dirty="0" smtClean="0">
                <a:solidFill>
                  <a:srgbClr val="1954A6"/>
                </a:solidFill>
              </a:rPr>
              <a:t>SCI</a:t>
            </a:r>
            <a:br>
              <a:rPr lang="sv-SE" sz="1800" dirty="0" smtClean="0">
                <a:solidFill>
                  <a:srgbClr val="1954A6"/>
                </a:solidFill>
              </a:rPr>
            </a:br>
            <a:r>
              <a:rPr lang="sv-SE" sz="1800" dirty="0" smtClean="0">
                <a:solidFill>
                  <a:srgbClr val="1954A6"/>
                </a:solidFill>
              </a:rPr>
              <a:t>började </a:t>
            </a:r>
            <a:r>
              <a:rPr lang="sv-SE" sz="1800" b="1" dirty="0" smtClean="0">
                <a:solidFill>
                  <a:srgbClr val="1954A6"/>
                </a:solidFill>
              </a:rPr>
              <a:t>21 augusti</a:t>
            </a:r>
            <a:endParaRPr lang="sv-SE" sz="1800" b="1" dirty="0">
              <a:solidFill>
                <a:srgbClr val="1954A6"/>
              </a:solidFill>
            </a:endParaRPr>
          </a:p>
          <a:p>
            <a:pPr marL="0" indent="0">
              <a:buNone/>
            </a:pPr>
            <a:r>
              <a:rPr lang="sv-SE" sz="1800" b="1" dirty="0" smtClean="0">
                <a:solidFill>
                  <a:schemeClr val="accent1"/>
                </a:solidFill>
              </a:rPr>
              <a:t/>
            </a:r>
            <a:br>
              <a:rPr lang="sv-SE" sz="1800" b="1" dirty="0" smtClean="0">
                <a:solidFill>
                  <a:schemeClr val="accent1"/>
                </a:solidFill>
              </a:rPr>
            </a:br>
            <a:endParaRPr lang="sv-SE" sz="3600" b="1" i="1" dirty="0" smtClean="0">
              <a:solidFill>
                <a:srgbClr val="C00000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/>
            <a:r>
              <a:rPr lang="sv-SE" dirty="0">
                <a:solidFill>
                  <a:schemeClr val="accent1"/>
                </a:solidFill>
              </a:rPr>
              <a:t>Personalnytt SCI </a:t>
            </a:r>
            <a:r>
              <a:rPr lang="sv-SE" dirty="0" err="1">
                <a:solidFill>
                  <a:schemeClr val="accent1"/>
                </a:solidFill>
              </a:rPr>
              <a:t>admin</a:t>
            </a:r>
            <a:endParaRPr lang="sv-SE" dirty="0">
              <a:solidFill>
                <a:schemeClr val="accent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56671" y="1044551"/>
            <a:ext cx="1361965" cy="130466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50061" y="3434576"/>
            <a:ext cx="1632961" cy="1336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3777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527FB4B-7893-4946-9C41-FB1EB79145A0}" type="slidenum">
              <a:rPr lang="sv-SE" smtClean="0"/>
              <a:t>40</a:t>
            </a:fld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A612C29-4FF1-4A4F-A907-03CBB0EDED27}" type="datetime1">
              <a:rPr lang="sv-SE" smtClean="0"/>
              <a:t>2023-09-12</a:t>
            </a:fld>
            <a:endParaRPr lang="sv-SE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sv-SE" b="1" dirty="0" smtClean="0"/>
              <a:t>Övriga områden </a:t>
            </a:r>
            <a:r>
              <a:rPr lang="sv-SE" b="1" smtClean="0"/>
              <a:t>inga nyheter…</a:t>
            </a:r>
            <a:endParaRPr lang="sv-SE" dirty="0" smtClean="0"/>
          </a:p>
          <a:p>
            <a:pPr marL="0" indent="0">
              <a:buNone/>
            </a:pPr>
            <a:endParaRPr lang="sv-SE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solidFill>
                  <a:schemeClr val="accent1"/>
                </a:solidFill>
              </a:rPr>
              <a:t>Programdirektivet &amp; samgåendet 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205366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527FB4B-7893-4946-9C41-FB1EB79145A0}" type="slidenum">
              <a:rPr lang="sv-SE" smtClean="0"/>
              <a:t>41</a:t>
            </a:fld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A612C29-4FF1-4A4F-A907-03CBB0EDED27}" type="datetime1">
              <a:rPr lang="sv-SE" smtClean="0"/>
              <a:t>2023-09-12</a:t>
            </a:fld>
            <a:endParaRPr lang="sv-SE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 algn="ctr">
              <a:buNone/>
            </a:pPr>
            <a:endParaRPr lang="sv-SE" sz="3600" b="1" dirty="0" smtClean="0">
              <a:solidFill>
                <a:schemeClr val="accent1"/>
              </a:solidFill>
            </a:endParaRPr>
          </a:p>
          <a:p>
            <a:pPr marL="0" indent="0" algn="ctr">
              <a:buNone/>
            </a:pPr>
            <a:r>
              <a:rPr lang="sv-SE" sz="3600" b="1" dirty="0" smtClean="0">
                <a:solidFill>
                  <a:schemeClr val="accent1"/>
                </a:solidFill>
              </a:rPr>
              <a:t>Frågor &amp; funderingar</a:t>
            </a:r>
          </a:p>
          <a:p>
            <a:pPr marL="0" indent="0" algn="ctr">
              <a:buNone/>
            </a:pPr>
            <a:r>
              <a:rPr lang="sv-SE" sz="9600" b="1" dirty="0" smtClean="0">
                <a:solidFill>
                  <a:schemeClr val="accent1"/>
                </a:solidFill>
              </a:rPr>
              <a:t>?        </a:t>
            </a:r>
            <a:endParaRPr lang="sv-SE" sz="9600" b="1" dirty="0">
              <a:solidFill>
                <a:schemeClr val="accent1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solidFill>
                  <a:schemeClr val="accent1"/>
                </a:solidFill>
              </a:rPr>
              <a:t>Programdirektivet &amp; samgåendet - status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255019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746540" y="-805812"/>
            <a:ext cx="7955280" cy="5966460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527FB4B-7893-4946-9C41-FB1EB79145A0}" type="slidenum">
              <a:rPr lang="sv-SE" smtClean="0"/>
              <a:t>42</a:t>
            </a:fld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2261483" y="5020521"/>
            <a:ext cx="2314575" cy="226121"/>
          </a:xfrm>
        </p:spPr>
        <p:txBody>
          <a:bodyPr/>
          <a:lstStyle/>
          <a:p>
            <a:endParaRPr lang="sv-S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A612C29-4FF1-4A4F-A907-03CBB0EDED27}" type="datetime1">
              <a:rPr lang="sv-SE" smtClean="0"/>
              <a:t>2023-09-12</a:t>
            </a:fld>
            <a:endParaRPr lang="sv-SE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2173357" y="2177418"/>
            <a:ext cx="3649524" cy="565781"/>
          </a:xfrm>
          <a:solidFill>
            <a:srgbClr val="FFFF00"/>
          </a:solidFill>
        </p:spPr>
        <p:txBody>
          <a:bodyPr/>
          <a:lstStyle/>
          <a:p>
            <a:pPr marL="0" indent="0" algn="ctr">
              <a:buNone/>
            </a:pPr>
            <a:r>
              <a:rPr lang="sv-SE" sz="1600" b="1" i="1" dirty="0" smtClean="0">
                <a:solidFill>
                  <a:srgbClr val="C00000"/>
                </a:solidFill>
              </a:rPr>
              <a:t/>
            </a:r>
            <a:br>
              <a:rPr lang="sv-SE" sz="1600" b="1" i="1" dirty="0" smtClean="0">
                <a:solidFill>
                  <a:srgbClr val="C00000"/>
                </a:solidFill>
              </a:rPr>
            </a:br>
            <a:r>
              <a:rPr lang="sv-SE" sz="1600" b="1" i="1" dirty="0" smtClean="0">
                <a:solidFill>
                  <a:srgbClr val="C00000"/>
                </a:solidFill>
              </a:rPr>
              <a:t>Tisdag 17 oktober</a:t>
            </a:r>
            <a:endParaRPr lang="sv-SE" b="1" dirty="0">
              <a:solidFill>
                <a:srgbClr val="C00000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86936" y="1437223"/>
            <a:ext cx="4149093" cy="575008"/>
          </a:xfrm>
          <a:solidFill>
            <a:srgbClr val="FFFF00"/>
          </a:solidFill>
        </p:spPr>
        <p:txBody>
          <a:bodyPr/>
          <a:lstStyle/>
          <a:p>
            <a:r>
              <a:rPr lang="sv-SE" dirty="0" smtClean="0">
                <a:solidFill>
                  <a:srgbClr val="FF0000"/>
                </a:solidFill>
              </a:rPr>
              <a:t>   Nästa SCI-</a:t>
            </a:r>
            <a:r>
              <a:rPr lang="sv-SE" dirty="0" err="1" smtClean="0">
                <a:solidFill>
                  <a:srgbClr val="FF0000"/>
                </a:solidFill>
              </a:rPr>
              <a:t>admin</a:t>
            </a:r>
            <a:r>
              <a:rPr lang="sv-SE" dirty="0" smtClean="0">
                <a:solidFill>
                  <a:srgbClr val="FF0000"/>
                </a:solidFill>
              </a:rPr>
              <a:t> frukostmöte…</a:t>
            </a:r>
            <a:endParaRPr lang="sv-SE" dirty="0">
              <a:solidFill>
                <a:srgbClr val="FF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32248" y="657845"/>
            <a:ext cx="65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sv-SE" sz="6000" b="1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3563" y="3044832"/>
            <a:ext cx="6794437" cy="1354217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sv-SE" sz="1400" dirty="0" smtClean="0"/>
              <a:t>  </a:t>
            </a:r>
            <a:r>
              <a:rPr lang="sv-SE" sz="1400" b="1" dirty="0" smtClean="0"/>
              <a:t> </a:t>
            </a:r>
          </a:p>
          <a:p>
            <a:pPr algn="ctr"/>
            <a:r>
              <a:rPr lang="sv-SE" sz="1400" b="1" dirty="0" smtClean="0">
                <a:solidFill>
                  <a:srgbClr val="FF0000"/>
                </a:solidFill>
              </a:rPr>
              <a:t>*** EXTRA *** </a:t>
            </a:r>
            <a:r>
              <a:rPr lang="sv-SE" sz="1400" b="1" dirty="0" smtClean="0"/>
              <a:t> </a:t>
            </a:r>
            <a:r>
              <a:rPr lang="sv-SE" sz="1400" b="1" dirty="0" smtClean="0"/>
              <a:t>Nästa </a:t>
            </a:r>
            <a:r>
              <a:rPr lang="sv-SE" sz="1400" b="1" dirty="0" err="1" smtClean="0"/>
              <a:t>adminmöte</a:t>
            </a:r>
            <a:r>
              <a:rPr lang="sv-SE" sz="1400" b="1" dirty="0" smtClean="0"/>
              <a:t> följs av en utbildning </a:t>
            </a:r>
            <a:r>
              <a:rPr lang="sv-SE" sz="1400" b="1" dirty="0" smtClean="0"/>
              <a:t>om </a:t>
            </a:r>
            <a:r>
              <a:rPr lang="sv-SE" sz="1400" b="1" dirty="0" smtClean="0">
                <a:solidFill>
                  <a:srgbClr val="FF0000"/>
                </a:solidFill>
              </a:rPr>
              <a:t>***</a:t>
            </a:r>
            <a:r>
              <a:rPr lang="sv-SE" sz="1400" b="1" dirty="0" smtClean="0"/>
              <a:t> </a:t>
            </a:r>
            <a:r>
              <a:rPr lang="sv-SE" sz="1400" b="1" dirty="0" smtClean="0">
                <a:solidFill>
                  <a:srgbClr val="FF0000"/>
                </a:solidFill>
              </a:rPr>
              <a:t>EXTRA ***</a:t>
            </a:r>
            <a:endParaRPr lang="sv-SE" sz="1400" b="1" dirty="0" smtClean="0">
              <a:solidFill>
                <a:srgbClr val="FF0000"/>
              </a:solidFill>
            </a:endParaRPr>
          </a:p>
          <a:p>
            <a:pPr algn="ctr"/>
            <a:r>
              <a:rPr lang="sv-SE" b="1" dirty="0" smtClean="0">
                <a:solidFill>
                  <a:srgbClr val="FF0000"/>
                </a:solidFill>
              </a:rPr>
              <a:t>Offentlighet </a:t>
            </a:r>
            <a:r>
              <a:rPr lang="sv-SE" b="1" dirty="0">
                <a:solidFill>
                  <a:srgbClr val="FF0000"/>
                </a:solidFill>
              </a:rPr>
              <a:t>och </a:t>
            </a:r>
            <a:r>
              <a:rPr lang="sv-SE" b="1" dirty="0" smtClean="0">
                <a:solidFill>
                  <a:srgbClr val="FF0000"/>
                </a:solidFill>
              </a:rPr>
              <a:t>sekretess</a:t>
            </a:r>
          </a:p>
          <a:p>
            <a:pPr algn="ctr"/>
            <a:r>
              <a:rPr lang="sv-SE" sz="1400" dirty="0" smtClean="0"/>
              <a:t>Skicka gärna in frågor i förväg till</a:t>
            </a:r>
          </a:p>
          <a:p>
            <a:pPr algn="ctr"/>
            <a:r>
              <a:rPr lang="sv-SE" sz="1400" dirty="0" smtClean="0">
                <a:hlinkClick r:id="rId4"/>
              </a:rPr>
              <a:t>hska@kth.se</a:t>
            </a:r>
            <a:endParaRPr lang="sv-SE" sz="1400" dirty="0" smtClean="0"/>
          </a:p>
          <a:p>
            <a:pPr algn="ctr"/>
            <a:endParaRPr lang="sv-SE" sz="1400" dirty="0"/>
          </a:p>
        </p:txBody>
      </p:sp>
    </p:spTree>
    <p:extLst>
      <p:ext uri="{BB962C8B-B14F-4D97-AF65-F5344CB8AC3E}">
        <p14:creationId xmlns:p14="http://schemas.microsoft.com/office/powerpoint/2010/main" val="1494539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9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3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3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2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3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72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 animBg="1"/>
      <p:bldP spid="6" grpId="0" animBg="1"/>
      <p:bldP spid="11" grpId="0"/>
      <p:bldP spid="8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527FB4B-7893-4946-9C41-FB1EB79145A0}" type="slidenum">
              <a:rPr lang="sv-SE" smtClean="0"/>
              <a:t>5</a:t>
            </a:fld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A612C29-4FF1-4A4F-A907-03CBB0EDED27}" type="datetime1">
              <a:rPr lang="sv-SE" smtClean="0"/>
              <a:t>2023-09-12</a:t>
            </a:fld>
            <a:endParaRPr lang="sv-SE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sv-SE" b="1" dirty="0">
                <a:solidFill>
                  <a:schemeClr val="accent1"/>
                </a:solidFill>
              </a:rPr>
              <a:t>På </a:t>
            </a:r>
            <a:r>
              <a:rPr lang="sv-SE" b="1" dirty="0" err="1" smtClean="0">
                <a:solidFill>
                  <a:schemeClr val="accent1"/>
                </a:solidFill>
              </a:rPr>
              <a:t>TekMekMath</a:t>
            </a:r>
            <a:endParaRPr lang="sv-SE" b="1" dirty="0" smtClean="0">
              <a:solidFill>
                <a:schemeClr val="accent1"/>
              </a:solidFill>
            </a:endParaRPr>
          </a:p>
          <a:p>
            <a:pPr marL="0" indent="0">
              <a:buNone/>
            </a:pPr>
            <a:endParaRPr lang="sv-SE" b="1" dirty="0">
              <a:solidFill>
                <a:schemeClr val="accent1"/>
              </a:solidFill>
            </a:endParaRPr>
          </a:p>
          <a:p>
            <a:pPr marL="0" indent="0">
              <a:buNone/>
            </a:pPr>
            <a:r>
              <a:rPr lang="sv-SE" b="1" smtClean="0">
                <a:solidFill>
                  <a:schemeClr val="accent1"/>
                </a:solidFill>
              </a:rPr>
              <a:t>Fredrike </a:t>
            </a:r>
            <a:r>
              <a:rPr lang="sv-SE" b="1" dirty="0" smtClean="0">
                <a:solidFill>
                  <a:schemeClr val="accent1"/>
                </a:solidFill>
              </a:rPr>
              <a:t>Molander, </a:t>
            </a:r>
            <a:r>
              <a:rPr lang="sv-SE" dirty="0" smtClean="0">
                <a:solidFill>
                  <a:schemeClr val="accent1"/>
                </a:solidFill>
              </a:rPr>
              <a:t>HR-administratör</a:t>
            </a:r>
            <a:endParaRPr lang="sv-SE" b="1" dirty="0">
              <a:solidFill>
                <a:schemeClr val="accent1"/>
              </a:solidFill>
            </a:endParaRPr>
          </a:p>
          <a:p>
            <a:pPr marL="0" indent="0">
              <a:buNone/>
            </a:pPr>
            <a:endParaRPr lang="sv-SE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solidFill>
                  <a:schemeClr val="accent1"/>
                </a:solidFill>
              </a:rPr>
              <a:t>Personalnytt SCI </a:t>
            </a:r>
            <a:r>
              <a:rPr lang="sv-SE" dirty="0" err="1">
                <a:solidFill>
                  <a:schemeClr val="accent1"/>
                </a:solidFill>
              </a:rPr>
              <a:t>admin</a:t>
            </a:r>
            <a:endParaRPr lang="sv-SE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57725" y="798791"/>
            <a:ext cx="1181983" cy="1181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927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527FB4B-7893-4946-9C41-FB1EB79145A0}" type="slidenum">
              <a:rPr lang="sv-SE" smtClean="0"/>
              <a:t>6</a:t>
            </a:fld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A612C29-4FF1-4A4F-A907-03CBB0EDED27}" type="datetime1">
              <a:rPr lang="sv-SE" smtClean="0"/>
              <a:t>2023-09-12</a:t>
            </a:fld>
            <a:endParaRPr lang="sv-SE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Lönerevision 2023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70683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title"/>
          </p:nvPr>
        </p:nvSpPr>
        <p:spPr>
          <a:xfrm>
            <a:off x="1569910" y="642937"/>
            <a:ext cx="3901381" cy="375941"/>
          </a:xfrm>
        </p:spPr>
        <p:txBody>
          <a:bodyPr/>
          <a:lstStyle/>
          <a:p>
            <a:r>
              <a:rPr lang="sv-SE" dirty="0" smtClean="0"/>
              <a:t>Tidplan lönerevision 2023</a:t>
            </a:r>
            <a:endParaRPr lang="sv-SE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7483139"/>
              </p:ext>
            </p:extLst>
          </p:nvPr>
        </p:nvGraphicFramePr>
        <p:xfrm>
          <a:off x="1569910" y="1221600"/>
          <a:ext cx="4451378" cy="27175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9452">
                  <a:extLst>
                    <a:ext uri="{9D8B030D-6E8A-4147-A177-3AD203B41FA5}">
                      <a16:colId xmlns:a16="http://schemas.microsoft.com/office/drawing/2014/main" val="1978595281"/>
                    </a:ext>
                  </a:extLst>
                </a:gridCol>
                <a:gridCol w="3211926">
                  <a:extLst>
                    <a:ext uri="{9D8B030D-6E8A-4147-A177-3AD203B41FA5}">
                      <a16:colId xmlns:a16="http://schemas.microsoft.com/office/drawing/2014/main" val="1403369116"/>
                    </a:ext>
                  </a:extLst>
                </a:gridCol>
              </a:tblGrid>
              <a:tr h="226958">
                <a:tc>
                  <a:txBody>
                    <a:bodyPr/>
                    <a:lstStyle/>
                    <a:p>
                      <a:r>
                        <a:rPr lang="sv-SE" sz="900" dirty="0" smtClean="0"/>
                        <a:t>När</a:t>
                      </a:r>
                      <a:endParaRPr lang="sv-SE" sz="900" dirty="0"/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r>
                        <a:rPr lang="sv-SE" sz="900" dirty="0" smtClean="0"/>
                        <a:t>Vad</a:t>
                      </a:r>
                      <a:endParaRPr lang="sv-SE" sz="900" dirty="0"/>
                    </a:p>
                  </a:txBody>
                  <a:tcPr marL="51435" marR="51435" marT="25718" marB="25718"/>
                </a:tc>
                <a:extLst>
                  <a:ext uri="{0D108BD9-81ED-4DB2-BD59-A6C34878D82A}">
                    <a16:rowId xmlns:a16="http://schemas.microsoft.com/office/drawing/2014/main" val="2252194267"/>
                  </a:ext>
                </a:extLst>
              </a:tr>
              <a:tr h="188595">
                <a:tc>
                  <a:txBody>
                    <a:bodyPr/>
                    <a:lstStyle/>
                    <a:p>
                      <a:r>
                        <a:rPr lang="sv-SE" sz="900" dirty="0" smtClean="0"/>
                        <a:t>230615</a:t>
                      </a:r>
                      <a:endParaRPr lang="sv-SE" sz="900" dirty="0"/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r>
                        <a:rPr lang="sv-SE" sz="900" dirty="0" smtClean="0"/>
                        <a:t>Partsgemensam/partsegen</a:t>
                      </a:r>
                      <a:r>
                        <a:rPr lang="sv-SE" sz="900" baseline="0" dirty="0" smtClean="0"/>
                        <a:t> </a:t>
                      </a:r>
                      <a:r>
                        <a:rPr lang="sv-SE" sz="900" dirty="0" smtClean="0"/>
                        <a:t>information </a:t>
                      </a:r>
                      <a:endParaRPr lang="sv-SE" sz="900" dirty="0"/>
                    </a:p>
                  </a:txBody>
                  <a:tcPr marL="51435" marR="51435" marT="25718" marB="25718"/>
                </a:tc>
                <a:extLst>
                  <a:ext uri="{0D108BD9-81ED-4DB2-BD59-A6C34878D82A}">
                    <a16:rowId xmlns:a16="http://schemas.microsoft.com/office/drawing/2014/main" val="288089229"/>
                  </a:ext>
                </a:extLst>
              </a:tr>
              <a:tr h="188595">
                <a:tc>
                  <a:txBody>
                    <a:bodyPr/>
                    <a:lstStyle/>
                    <a:p>
                      <a:r>
                        <a:rPr lang="sv-SE" sz="900" dirty="0" smtClean="0"/>
                        <a:t>230620</a:t>
                      </a:r>
                      <a:endParaRPr lang="sv-SE" sz="900" dirty="0"/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r>
                        <a:rPr lang="sv-SE" sz="900" dirty="0" smtClean="0"/>
                        <a:t>Inläsning av lönedata i lönerevisionsmodulen</a:t>
                      </a:r>
                    </a:p>
                  </a:txBody>
                  <a:tcPr marL="51435" marR="51435" marT="25718" marB="25718"/>
                </a:tc>
                <a:extLst>
                  <a:ext uri="{0D108BD9-81ED-4DB2-BD59-A6C34878D82A}">
                    <a16:rowId xmlns:a16="http://schemas.microsoft.com/office/drawing/2014/main" val="531243048"/>
                  </a:ext>
                </a:extLst>
              </a:tr>
              <a:tr h="188595">
                <a:tc>
                  <a:txBody>
                    <a:bodyPr/>
                    <a:lstStyle/>
                    <a:p>
                      <a:r>
                        <a:rPr lang="sv-SE" sz="900" dirty="0" smtClean="0"/>
                        <a:t>t.o.m.</a:t>
                      </a:r>
                      <a:r>
                        <a:rPr lang="sv-SE" sz="900" baseline="0" dirty="0" smtClean="0"/>
                        <a:t> </a:t>
                      </a:r>
                      <a:r>
                        <a:rPr lang="sv-SE" sz="900" dirty="0" smtClean="0"/>
                        <a:t>230831</a:t>
                      </a:r>
                      <a:endParaRPr lang="sv-SE" sz="900" dirty="0"/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r>
                        <a:rPr lang="sv-SE" sz="900" dirty="0" smtClean="0"/>
                        <a:t>Identifiera vilka som ingår i revisionen - </a:t>
                      </a:r>
                      <a:r>
                        <a:rPr lang="sv-SE" sz="900" b="1" dirty="0" smtClean="0">
                          <a:solidFill>
                            <a:srgbClr val="33D80C"/>
                          </a:solidFill>
                        </a:rPr>
                        <a:t>Klart</a:t>
                      </a:r>
                      <a:endParaRPr lang="sv-SE" sz="900" b="1" dirty="0">
                        <a:solidFill>
                          <a:srgbClr val="33D80C"/>
                        </a:solidFill>
                      </a:endParaRPr>
                    </a:p>
                  </a:txBody>
                  <a:tcPr marL="51435" marR="51435" marT="25718" marB="25718"/>
                </a:tc>
                <a:extLst>
                  <a:ext uri="{0D108BD9-81ED-4DB2-BD59-A6C34878D82A}">
                    <a16:rowId xmlns:a16="http://schemas.microsoft.com/office/drawing/2014/main" val="516001110"/>
                  </a:ext>
                </a:extLst>
              </a:tr>
              <a:tr h="325755">
                <a:tc>
                  <a:txBody>
                    <a:bodyPr/>
                    <a:lstStyle/>
                    <a:p>
                      <a:r>
                        <a:rPr lang="sv-SE" sz="900" dirty="0" smtClean="0"/>
                        <a:t>230814-</a:t>
                      </a:r>
                      <a:endParaRPr lang="sv-SE" sz="900" dirty="0"/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r>
                        <a:rPr lang="sv-SE" sz="900" dirty="0" smtClean="0"/>
                        <a:t>Infomöte om lönerevisionsprocessen på APT </a:t>
                      </a:r>
                      <a:r>
                        <a:rPr lang="sv-SE" sz="900" b="1" dirty="0" smtClean="0">
                          <a:solidFill>
                            <a:srgbClr val="33D80C"/>
                          </a:solidFill>
                        </a:rPr>
                        <a:t>- NU</a:t>
                      </a:r>
                      <a:r>
                        <a:rPr lang="sv-SE" sz="900" dirty="0" smtClean="0"/>
                        <a:t/>
                      </a:r>
                      <a:br>
                        <a:rPr lang="sv-SE" sz="900" dirty="0" smtClean="0"/>
                      </a:br>
                      <a:r>
                        <a:rPr lang="sv-SE" sz="900" i="1" dirty="0" smtClean="0">
                          <a:solidFill>
                            <a:srgbClr val="33D80C"/>
                          </a:solidFill>
                        </a:rPr>
                        <a:t>Universitetsdirektören</a:t>
                      </a:r>
                      <a:r>
                        <a:rPr lang="sv-SE" sz="900" i="1" baseline="0" dirty="0" smtClean="0">
                          <a:solidFill>
                            <a:srgbClr val="33D80C"/>
                          </a:solidFill>
                        </a:rPr>
                        <a:t> informerade i zoom 22 aug</a:t>
                      </a:r>
                      <a:endParaRPr lang="sv-SE" sz="900" i="1" dirty="0">
                        <a:solidFill>
                          <a:srgbClr val="33D80C"/>
                        </a:solidFill>
                      </a:endParaRPr>
                    </a:p>
                  </a:txBody>
                  <a:tcPr marL="51435" marR="51435" marT="25718" marB="25718"/>
                </a:tc>
                <a:extLst>
                  <a:ext uri="{0D108BD9-81ED-4DB2-BD59-A6C34878D82A}">
                    <a16:rowId xmlns:a16="http://schemas.microsoft.com/office/drawing/2014/main" val="2647332896"/>
                  </a:ext>
                </a:extLst>
              </a:tr>
              <a:tr h="204969">
                <a:tc>
                  <a:txBody>
                    <a:bodyPr/>
                    <a:lstStyle/>
                    <a:p>
                      <a:r>
                        <a:rPr lang="sv-SE" sz="900" dirty="0" smtClean="0">
                          <a:solidFill>
                            <a:schemeClr val="tx1"/>
                          </a:solidFill>
                        </a:rPr>
                        <a:t>230901-230930</a:t>
                      </a:r>
                      <a:endParaRPr lang="sv-SE" sz="900" dirty="0">
                        <a:solidFill>
                          <a:schemeClr val="tx1"/>
                        </a:solidFill>
                      </a:endParaRP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r>
                        <a:rPr lang="sv-SE" sz="900" dirty="0" smtClean="0">
                          <a:solidFill>
                            <a:schemeClr val="tx1"/>
                          </a:solidFill>
                        </a:rPr>
                        <a:t>Lönesamtal pågår – (inskickat till</a:t>
                      </a:r>
                      <a:r>
                        <a:rPr lang="sv-SE" sz="900" baseline="0" dirty="0" smtClean="0">
                          <a:solidFill>
                            <a:schemeClr val="tx1"/>
                          </a:solidFill>
                        </a:rPr>
                        <a:t> HR-VS</a:t>
                      </a:r>
                      <a:r>
                        <a:rPr lang="sv-SE" sz="9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sv-SE" sz="900" b="1" dirty="0" smtClean="0">
                          <a:solidFill>
                            <a:schemeClr val="tx1"/>
                          </a:solidFill>
                        </a:rPr>
                        <a:t>senast</a:t>
                      </a:r>
                      <a:r>
                        <a:rPr lang="sv-SE" sz="900" b="1" baseline="0" dirty="0" smtClean="0">
                          <a:solidFill>
                            <a:schemeClr val="tx1"/>
                          </a:solidFill>
                        </a:rPr>
                        <a:t> 28 </a:t>
                      </a:r>
                      <a:r>
                        <a:rPr lang="sv-SE" sz="900" b="1" baseline="0" dirty="0" err="1" smtClean="0">
                          <a:solidFill>
                            <a:schemeClr val="tx1"/>
                          </a:solidFill>
                        </a:rPr>
                        <a:t>sept</a:t>
                      </a:r>
                      <a:r>
                        <a:rPr lang="sv-SE" sz="900" baseline="0" dirty="0" smtClean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sv-SE" sz="900" dirty="0">
                        <a:solidFill>
                          <a:schemeClr val="tx1"/>
                        </a:solidFill>
                      </a:endParaRPr>
                    </a:p>
                  </a:txBody>
                  <a:tcPr marL="51435" marR="51435" marT="25718" marB="25718"/>
                </a:tc>
                <a:extLst>
                  <a:ext uri="{0D108BD9-81ED-4DB2-BD59-A6C34878D82A}">
                    <a16:rowId xmlns:a16="http://schemas.microsoft.com/office/drawing/2014/main" val="1894931471"/>
                  </a:ext>
                </a:extLst>
              </a:tr>
              <a:tr h="188595">
                <a:tc>
                  <a:txBody>
                    <a:bodyPr/>
                    <a:lstStyle/>
                    <a:p>
                      <a:r>
                        <a:rPr lang="sv-SE" sz="900" b="0" i="1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231004</a:t>
                      </a:r>
                      <a:endParaRPr lang="sv-SE" sz="900" b="0" i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900" b="0" i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ista dag att registrera förslag till nya</a:t>
                      </a:r>
                      <a:r>
                        <a:rPr lang="sv-SE" sz="900" b="0" i="1" baseline="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 löner</a:t>
                      </a:r>
                      <a:r>
                        <a:rPr lang="sv-SE" sz="900" b="0" i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 i HR+</a:t>
                      </a:r>
                    </a:p>
                  </a:txBody>
                  <a:tcPr marL="51435" marR="51435" marT="25718" marB="25718"/>
                </a:tc>
                <a:extLst>
                  <a:ext uri="{0D108BD9-81ED-4DB2-BD59-A6C34878D82A}">
                    <a16:rowId xmlns:a16="http://schemas.microsoft.com/office/drawing/2014/main" val="2896938546"/>
                  </a:ext>
                </a:extLst>
              </a:tr>
              <a:tr h="188595">
                <a:tc>
                  <a:txBody>
                    <a:bodyPr/>
                    <a:lstStyle/>
                    <a:p>
                      <a:r>
                        <a:rPr lang="sv-SE" sz="900" dirty="0" smtClean="0"/>
                        <a:t>231010-231031</a:t>
                      </a:r>
                      <a:endParaRPr lang="sv-SE" sz="900" dirty="0"/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900" dirty="0" smtClean="0"/>
                        <a:t>Lönesättande samtal </a:t>
                      </a:r>
                      <a:r>
                        <a:rPr lang="sv-SE" sz="900" dirty="0" err="1" smtClean="0"/>
                        <a:t>Saco-S</a:t>
                      </a:r>
                      <a:endParaRPr lang="sv-SE" sz="900" dirty="0" smtClean="0"/>
                    </a:p>
                  </a:txBody>
                  <a:tcPr marL="51435" marR="51435" marT="25718" marB="25718"/>
                </a:tc>
                <a:extLst>
                  <a:ext uri="{0D108BD9-81ED-4DB2-BD59-A6C34878D82A}">
                    <a16:rowId xmlns:a16="http://schemas.microsoft.com/office/drawing/2014/main" val="3913970877"/>
                  </a:ext>
                </a:extLst>
              </a:tr>
              <a:tr h="18859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900" dirty="0" smtClean="0"/>
                        <a:t>231023-231130</a:t>
                      </a: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900" dirty="0" smtClean="0"/>
                        <a:t>Förhandlingar med</a:t>
                      </a:r>
                      <a:r>
                        <a:rPr lang="sv-SE" sz="900" baseline="0" dirty="0" smtClean="0"/>
                        <a:t> OFR/S (</a:t>
                      </a:r>
                      <a:r>
                        <a:rPr lang="sv-SE" sz="900" dirty="0" smtClean="0"/>
                        <a:t>ST) och SEKO</a:t>
                      </a:r>
                    </a:p>
                  </a:txBody>
                  <a:tcPr marL="51435" marR="51435" marT="25718" marB="25718"/>
                </a:tc>
                <a:extLst>
                  <a:ext uri="{0D108BD9-81ED-4DB2-BD59-A6C34878D82A}">
                    <a16:rowId xmlns:a16="http://schemas.microsoft.com/office/drawing/2014/main" val="622553858"/>
                  </a:ext>
                </a:extLst>
              </a:tr>
              <a:tr h="225562">
                <a:tc>
                  <a:txBody>
                    <a:bodyPr/>
                    <a:lstStyle/>
                    <a:p>
                      <a:r>
                        <a:rPr lang="sv-SE" sz="900" i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231107</a:t>
                      </a:r>
                      <a:endParaRPr lang="sv-SE" sz="900" i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r>
                        <a:rPr lang="sv-SE" sz="900" i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ista dag att registrera enig</a:t>
                      </a:r>
                      <a:r>
                        <a:rPr lang="sv-SE" sz="900" i="1" baseline="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sv-SE" sz="900" i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”klar</a:t>
                      </a:r>
                      <a:r>
                        <a:rPr lang="sv-SE" sz="900" i="1" baseline="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 skola”/oenig i HR+ </a:t>
                      </a:r>
                      <a:endParaRPr lang="sv-SE" sz="900" i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 marL="51435" marR="51435" marT="25718" marB="25718"/>
                </a:tc>
                <a:extLst>
                  <a:ext uri="{0D108BD9-81ED-4DB2-BD59-A6C34878D82A}">
                    <a16:rowId xmlns:a16="http://schemas.microsoft.com/office/drawing/2014/main" val="3208273008"/>
                  </a:ext>
                </a:extLst>
              </a:tr>
              <a:tr h="225562">
                <a:tc>
                  <a:txBody>
                    <a:bodyPr/>
                    <a:lstStyle/>
                    <a:p>
                      <a:r>
                        <a:rPr lang="sv-SE" sz="900" dirty="0" smtClean="0"/>
                        <a:t>231115-231205</a:t>
                      </a:r>
                      <a:endParaRPr lang="sv-SE" sz="900" dirty="0"/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r>
                        <a:rPr lang="sv-SE" sz="900" dirty="0" smtClean="0"/>
                        <a:t>Förhandling</a:t>
                      </a:r>
                      <a:r>
                        <a:rPr lang="sv-SE" sz="900" baseline="0" dirty="0" smtClean="0"/>
                        <a:t> Saco-S, oeniga lönesättande samtal</a:t>
                      </a:r>
                      <a:endParaRPr lang="sv-SE" sz="900" dirty="0"/>
                    </a:p>
                  </a:txBody>
                  <a:tcPr marL="51435" marR="51435" marT="25718" marB="25718"/>
                </a:tc>
                <a:extLst>
                  <a:ext uri="{0D108BD9-81ED-4DB2-BD59-A6C34878D82A}">
                    <a16:rowId xmlns:a16="http://schemas.microsoft.com/office/drawing/2014/main" val="3447479874"/>
                  </a:ext>
                </a:extLst>
              </a:tr>
              <a:tr h="188595">
                <a:tc>
                  <a:txBody>
                    <a:bodyPr/>
                    <a:lstStyle/>
                    <a:p>
                      <a:r>
                        <a:rPr lang="sv-SE" sz="900" dirty="0" smtClean="0"/>
                        <a:t>231201-231215</a:t>
                      </a:r>
                      <a:endParaRPr lang="sv-SE" sz="900" dirty="0"/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900" dirty="0" smtClean="0"/>
                        <a:t>Återkoppling ny lön</a:t>
                      </a:r>
                    </a:p>
                  </a:txBody>
                  <a:tcPr marL="51435" marR="51435" marT="25718" marB="25718"/>
                </a:tc>
                <a:extLst>
                  <a:ext uri="{0D108BD9-81ED-4DB2-BD59-A6C34878D82A}">
                    <a16:rowId xmlns:a16="http://schemas.microsoft.com/office/drawing/2014/main" val="1213956424"/>
                  </a:ext>
                </a:extLst>
              </a:tr>
              <a:tr h="188595">
                <a:tc>
                  <a:txBody>
                    <a:bodyPr/>
                    <a:lstStyle/>
                    <a:p>
                      <a:r>
                        <a:rPr lang="sv-SE" sz="900" dirty="0" smtClean="0"/>
                        <a:t>231222</a:t>
                      </a:r>
                      <a:endParaRPr lang="sv-SE" sz="900" dirty="0"/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900" dirty="0" smtClean="0"/>
                        <a:t>Utbetalning av ny lön</a:t>
                      </a:r>
                    </a:p>
                  </a:txBody>
                  <a:tcPr marL="51435" marR="51435" marT="25718" marB="25718"/>
                </a:tc>
                <a:extLst>
                  <a:ext uri="{0D108BD9-81ED-4DB2-BD59-A6C34878D82A}">
                    <a16:rowId xmlns:a16="http://schemas.microsoft.com/office/drawing/2014/main" val="1496139320"/>
                  </a:ext>
                </a:extLst>
              </a:tr>
            </a:tbl>
          </a:graphicData>
        </a:graphic>
      </p:graphicFrame>
      <p:sp>
        <p:nvSpPr>
          <p:cNvPr id="2" name="Right Arrow 1"/>
          <p:cNvSpPr/>
          <p:nvPr/>
        </p:nvSpPr>
        <p:spPr>
          <a:xfrm>
            <a:off x="0" y="2355726"/>
            <a:ext cx="1538790" cy="162018"/>
          </a:xfrm>
          <a:prstGeom prst="rightArrow">
            <a:avLst/>
          </a:prstGeom>
          <a:solidFill>
            <a:srgbClr val="FFFF0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14350" eaLnBrk="1" fontAlgn="auto" hangingPunct="1">
              <a:spcBef>
                <a:spcPts val="0"/>
              </a:spcBef>
              <a:spcAft>
                <a:spcPts val="0"/>
              </a:spcAft>
            </a:pPr>
            <a:endParaRPr lang="sv-SE" sz="1013" dirty="0" err="1">
              <a:solidFill>
                <a:prstClr val="black"/>
              </a:solidFill>
              <a:latin typeface="Arial"/>
            </a:endParaRPr>
          </a:p>
        </p:txBody>
      </p:sp>
      <p:sp>
        <p:nvSpPr>
          <p:cNvPr id="5" name="Right Arrow 4"/>
          <p:cNvSpPr/>
          <p:nvPr/>
        </p:nvSpPr>
        <p:spPr>
          <a:xfrm>
            <a:off x="6021288" y="2355726"/>
            <a:ext cx="836712" cy="162018"/>
          </a:xfrm>
          <a:prstGeom prst="rightArrow">
            <a:avLst/>
          </a:prstGeom>
          <a:solidFill>
            <a:srgbClr val="33D80C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14350" eaLnBrk="1" fontAlgn="auto" hangingPunct="1">
              <a:spcBef>
                <a:spcPts val="0"/>
              </a:spcBef>
              <a:spcAft>
                <a:spcPts val="0"/>
              </a:spcAft>
            </a:pPr>
            <a:endParaRPr lang="sv-SE" sz="1013" dirty="0" err="1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184718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5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KTH:s löne- och bedömningskriterier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sv-SE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329612"/>
            <a:ext cx="6795045" cy="2809982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 rot="20215103">
            <a:off x="774695" y="2415132"/>
            <a:ext cx="6081327" cy="323165"/>
          </a:xfrm>
          <a:prstGeom prst="rect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defTabSz="51435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sv-SE" sz="1500" dirty="0">
                <a:solidFill>
                  <a:prstClr val="black"/>
                </a:solidFill>
                <a:latin typeface="Arial"/>
              </a:rPr>
              <a:t>Komplexitetsgrad och ansvar i befattningen vägs in i bedömningen</a:t>
            </a:r>
          </a:p>
        </p:txBody>
      </p:sp>
    </p:spTree>
    <p:extLst>
      <p:ext uri="{BB962C8B-B14F-4D97-AF65-F5344CB8AC3E}">
        <p14:creationId xmlns:p14="http://schemas.microsoft.com/office/powerpoint/2010/main" val="26506171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527FB4B-7893-4946-9C41-FB1EB79145A0}" type="slidenum">
              <a:rPr lang="sv-SE" smtClean="0"/>
              <a:t>9</a:t>
            </a:fld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A612C29-4FF1-4A4F-A907-03CBB0EDED27}" type="datetime1">
              <a:rPr lang="sv-SE" smtClean="0"/>
              <a:t>2023-09-12</a:t>
            </a:fld>
            <a:endParaRPr lang="sv-SE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sv-SE" sz="2400" dirty="0" smtClean="0"/>
              <a:t>Kollegialt inflytande…</a:t>
            </a:r>
            <a:endParaRPr lang="sv-SE" sz="240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solidFill>
                  <a:srgbClr val="5E87C0"/>
                </a:solidFill>
              </a:rPr>
              <a:t>Nyheter på SCI/KTH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069144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" val="fcb025ba9a6ccf8fed139b5222f2a63b17a479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TH_PPT-mall">
  <a:themeElements>
    <a:clrScheme name="KTH">
      <a:dk1>
        <a:srgbClr val="000000"/>
      </a:dk1>
      <a:lt1>
        <a:srgbClr val="FFFFFF"/>
      </a:lt1>
      <a:dk2>
        <a:srgbClr val="65656C"/>
      </a:dk2>
      <a:lt2>
        <a:srgbClr val="838389"/>
      </a:lt2>
      <a:accent1>
        <a:srgbClr val="1954A6"/>
      </a:accent1>
      <a:accent2>
        <a:srgbClr val="5E87C0"/>
      </a:accent2>
      <a:accent3>
        <a:srgbClr val="2091C3"/>
      </a:accent3>
      <a:accent4>
        <a:srgbClr val="D02F80"/>
      </a:accent4>
      <a:accent5>
        <a:srgbClr val="D95999"/>
      </a:accent5>
      <a:accent6>
        <a:srgbClr val="61922E"/>
      </a:accent6>
      <a:hlink>
        <a:srgbClr val="65656C"/>
      </a:hlink>
      <a:folHlink>
        <a:srgbClr val="838389"/>
      </a:folHlink>
    </a:clrScheme>
    <a:fontScheme name="Anpassat 2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 sz="14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KTH_4x3_ht20.pptx" id="{3D46C955-E069-4872-B16E-749CFF63007B}" vid="{D9365CCA-934D-4E00-9B4B-8D4B15C5D76B}"/>
    </a:ext>
  </a:extLst>
</a:theme>
</file>

<file path=ppt/theme/theme2.xml><?xml version="1.0" encoding="utf-8"?>
<a:theme xmlns:a="http://schemas.openxmlformats.org/drawingml/2006/main" name="2_Office-tema">
  <a:themeElements>
    <a:clrScheme name="KTH">
      <a:dk1>
        <a:srgbClr val="000000"/>
      </a:dk1>
      <a:lt1>
        <a:srgbClr val="FFFFFF"/>
      </a:lt1>
      <a:dk2>
        <a:srgbClr val="65656C"/>
      </a:dk2>
      <a:lt2>
        <a:srgbClr val="838389"/>
      </a:lt2>
      <a:accent1>
        <a:srgbClr val="1954A6"/>
      </a:accent1>
      <a:accent2>
        <a:srgbClr val="5E87C0"/>
      </a:accent2>
      <a:accent3>
        <a:srgbClr val="2091C3"/>
      </a:accent3>
      <a:accent4>
        <a:srgbClr val="D02F80"/>
      </a:accent4>
      <a:accent5>
        <a:srgbClr val="D95999"/>
      </a:accent5>
      <a:accent6>
        <a:srgbClr val="61922E"/>
      </a:accent6>
      <a:hlink>
        <a:srgbClr val="65656C"/>
      </a:hlink>
      <a:folHlink>
        <a:srgbClr val="838389"/>
      </a:folHlink>
    </a:clrScheme>
    <a:fontScheme name="Arial">
      <a:majorFont>
        <a:latin typeface="Arial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 sz="20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KTH_16_9_widescreen_ht20.pptx" id="{D851367E-9036-43B4-9296-8B045BA056D0}" vid="{8EB72D5C-85BD-4063-B14A-88C59FA0F9D6}"/>
    </a:ext>
  </a:extLst>
</a:theme>
</file>

<file path=ppt/theme/theme3.xml><?xml version="1.0" encoding="utf-8"?>
<a:theme xmlns:a="http://schemas.openxmlformats.org/drawingml/2006/main" name="Office-tema">
  <a:themeElements>
    <a:clrScheme name="KTH">
      <a:dk1>
        <a:srgbClr val="000000"/>
      </a:dk1>
      <a:lt1>
        <a:srgbClr val="FFFFFF"/>
      </a:lt1>
      <a:dk2>
        <a:srgbClr val="65656C"/>
      </a:dk2>
      <a:lt2>
        <a:srgbClr val="838389"/>
      </a:lt2>
      <a:accent1>
        <a:srgbClr val="1954A6"/>
      </a:accent1>
      <a:accent2>
        <a:srgbClr val="5E87C0"/>
      </a:accent2>
      <a:accent3>
        <a:srgbClr val="2091C3"/>
      </a:accent3>
      <a:accent4>
        <a:srgbClr val="D02F80"/>
      </a:accent4>
      <a:accent5>
        <a:srgbClr val="D95999"/>
      </a:accent5>
      <a:accent6>
        <a:srgbClr val="61922E"/>
      </a:accent6>
      <a:hlink>
        <a:srgbClr val="65656C"/>
      </a:hlink>
      <a:folHlink>
        <a:srgbClr val="83838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 sz="20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KTH_16_9_widescreen_ht20.pptx" id="{D851367E-9036-43B4-9296-8B045BA056D0}" vid="{8EB72D5C-85BD-4063-B14A-88C59FA0F9D6}"/>
    </a:ext>
  </a:extLst>
</a:theme>
</file>

<file path=ppt/theme/theme4.xml><?xml version="1.0" encoding="utf-8"?>
<a:theme xmlns:a="http://schemas.openxmlformats.org/drawingml/2006/main" name="Template_KTH_with colours and grafs">
  <a:themeElements>
    <a:clrScheme name="Anpassat 9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54A6"/>
      </a:accent1>
      <a:accent2>
        <a:srgbClr val="5893E5"/>
      </a:accent2>
      <a:accent3>
        <a:srgbClr val="62922E"/>
      </a:accent3>
      <a:accent4>
        <a:srgbClr val="A1D16D"/>
      </a:accent4>
      <a:accent5>
        <a:srgbClr val="9D102D"/>
      </a:accent5>
      <a:accent6>
        <a:srgbClr val="EC4769"/>
      </a:accent6>
      <a:hlink>
        <a:srgbClr val="C2C2C4"/>
      </a:hlink>
      <a:folHlink>
        <a:srgbClr val="800080"/>
      </a:folHlink>
    </a:clrScheme>
    <a:fontScheme name="Anpassat 2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Altiden">
    <a:dk1>
      <a:sysClr val="windowText" lastClr="000000"/>
    </a:dk1>
    <a:lt1>
      <a:sysClr val="window" lastClr="FFFFFF"/>
    </a:lt1>
    <a:dk2>
      <a:srgbClr val="4A4A49"/>
    </a:dk2>
    <a:lt2>
      <a:srgbClr val="E7E6E6"/>
    </a:lt2>
    <a:accent1>
      <a:srgbClr val="F68D2E"/>
    </a:accent1>
    <a:accent2>
      <a:srgbClr val="6AB651"/>
    </a:accent2>
    <a:accent3>
      <a:srgbClr val="DF3F2A"/>
    </a:accent3>
    <a:accent4>
      <a:srgbClr val="005D95"/>
    </a:accent4>
    <a:accent5>
      <a:srgbClr val="0077BF"/>
    </a:accent5>
    <a:accent6>
      <a:srgbClr val="63B9E9"/>
    </a:accent6>
    <a:hlink>
      <a:srgbClr val="FBBA00"/>
    </a:hlink>
    <a:folHlink>
      <a:srgbClr val="0077BF"/>
    </a:folHlink>
  </a:clrScheme>
  <a:fontScheme name="Arial">
    <a:majorFont>
      <a:latin typeface="Arial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Altiden">
    <a:dk1>
      <a:sysClr val="windowText" lastClr="000000"/>
    </a:dk1>
    <a:lt1>
      <a:sysClr val="window" lastClr="FFFFFF"/>
    </a:lt1>
    <a:dk2>
      <a:srgbClr val="4A4A49"/>
    </a:dk2>
    <a:lt2>
      <a:srgbClr val="E7E6E6"/>
    </a:lt2>
    <a:accent1>
      <a:srgbClr val="F68D2E"/>
    </a:accent1>
    <a:accent2>
      <a:srgbClr val="6AB651"/>
    </a:accent2>
    <a:accent3>
      <a:srgbClr val="DF3F2A"/>
    </a:accent3>
    <a:accent4>
      <a:srgbClr val="005D95"/>
    </a:accent4>
    <a:accent5>
      <a:srgbClr val="0077BF"/>
    </a:accent5>
    <a:accent6>
      <a:srgbClr val="63B9E9"/>
    </a:accent6>
    <a:hlink>
      <a:srgbClr val="FBBA00"/>
    </a:hlink>
    <a:folHlink>
      <a:srgbClr val="0077BF"/>
    </a:folHlink>
  </a:clrScheme>
  <a:fontScheme name="Arial">
    <a:majorFont>
      <a:latin typeface="Arial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Altiden">
    <a:dk1>
      <a:sysClr val="windowText" lastClr="000000"/>
    </a:dk1>
    <a:lt1>
      <a:sysClr val="window" lastClr="FFFFFF"/>
    </a:lt1>
    <a:dk2>
      <a:srgbClr val="4A4A49"/>
    </a:dk2>
    <a:lt2>
      <a:srgbClr val="E7E6E6"/>
    </a:lt2>
    <a:accent1>
      <a:srgbClr val="F68D2E"/>
    </a:accent1>
    <a:accent2>
      <a:srgbClr val="6AB651"/>
    </a:accent2>
    <a:accent3>
      <a:srgbClr val="DF3F2A"/>
    </a:accent3>
    <a:accent4>
      <a:srgbClr val="005D95"/>
    </a:accent4>
    <a:accent5>
      <a:srgbClr val="0077BF"/>
    </a:accent5>
    <a:accent6>
      <a:srgbClr val="63B9E9"/>
    </a:accent6>
    <a:hlink>
      <a:srgbClr val="FBBA00"/>
    </a:hlink>
    <a:folHlink>
      <a:srgbClr val="0077BF"/>
    </a:folHlink>
  </a:clrScheme>
  <a:fontScheme name="Arial">
    <a:majorFont>
      <a:latin typeface="Arial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2.xml><?xml version="1.0" encoding="utf-8"?>
<a:themeOverride xmlns:a="http://schemas.openxmlformats.org/drawingml/2006/main">
  <a:clrScheme name="Altiden">
    <a:dk1>
      <a:sysClr val="windowText" lastClr="000000"/>
    </a:dk1>
    <a:lt1>
      <a:sysClr val="window" lastClr="FFFFFF"/>
    </a:lt1>
    <a:dk2>
      <a:srgbClr val="4A4A49"/>
    </a:dk2>
    <a:lt2>
      <a:srgbClr val="E7E6E6"/>
    </a:lt2>
    <a:accent1>
      <a:srgbClr val="F68D2E"/>
    </a:accent1>
    <a:accent2>
      <a:srgbClr val="6AB651"/>
    </a:accent2>
    <a:accent3>
      <a:srgbClr val="DF3F2A"/>
    </a:accent3>
    <a:accent4>
      <a:srgbClr val="005D95"/>
    </a:accent4>
    <a:accent5>
      <a:srgbClr val="0077BF"/>
    </a:accent5>
    <a:accent6>
      <a:srgbClr val="63B9E9"/>
    </a:accent6>
    <a:hlink>
      <a:srgbClr val="FBBA00"/>
    </a:hlink>
    <a:folHlink>
      <a:srgbClr val="0077BF"/>
    </a:folHlink>
  </a:clrScheme>
  <a:fontScheme name="Arial">
    <a:majorFont>
      <a:latin typeface="Arial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Altiden">
    <a:dk1>
      <a:sysClr val="windowText" lastClr="000000"/>
    </a:dk1>
    <a:lt1>
      <a:sysClr val="window" lastClr="FFFFFF"/>
    </a:lt1>
    <a:dk2>
      <a:srgbClr val="4A4A49"/>
    </a:dk2>
    <a:lt2>
      <a:srgbClr val="E7E6E6"/>
    </a:lt2>
    <a:accent1>
      <a:srgbClr val="F68D2E"/>
    </a:accent1>
    <a:accent2>
      <a:srgbClr val="6AB651"/>
    </a:accent2>
    <a:accent3>
      <a:srgbClr val="DF3F2A"/>
    </a:accent3>
    <a:accent4>
      <a:srgbClr val="005D95"/>
    </a:accent4>
    <a:accent5>
      <a:srgbClr val="0077BF"/>
    </a:accent5>
    <a:accent6>
      <a:srgbClr val="63B9E9"/>
    </a:accent6>
    <a:hlink>
      <a:srgbClr val="FBBA00"/>
    </a:hlink>
    <a:folHlink>
      <a:srgbClr val="0077BF"/>
    </a:folHlink>
  </a:clrScheme>
  <a:fontScheme name="Arial">
    <a:majorFont>
      <a:latin typeface="Arial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Altiden">
    <a:dk1>
      <a:sysClr val="windowText" lastClr="000000"/>
    </a:dk1>
    <a:lt1>
      <a:sysClr val="window" lastClr="FFFFFF"/>
    </a:lt1>
    <a:dk2>
      <a:srgbClr val="4A4A49"/>
    </a:dk2>
    <a:lt2>
      <a:srgbClr val="E7E6E6"/>
    </a:lt2>
    <a:accent1>
      <a:srgbClr val="F68D2E"/>
    </a:accent1>
    <a:accent2>
      <a:srgbClr val="6AB651"/>
    </a:accent2>
    <a:accent3>
      <a:srgbClr val="DF3F2A"/>
    </a:accent3>
    <a:accent4>
      <a:srgbClr val="005D95"/>
    </a:accent4>
    <a:accent5>
      <a:srgbClr val="0077BF"/>
    </a:accent5>
    <a:accent6>
      <a:srgbClr val="63B9E9"/>
    </a:accent6>
    <a:hlink>
      <a:srgbClr val="FBBA00"/>
    </a:hlink>
    <a:folHlink>
      <a:srgbClr val="0077BF"/>
    </a:folHlink>
  </a:clrScheme>
  <a:fontScheme name="Arial">
    <a:majorFont>
      <a:latin typeface="Arial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Altiden">
    <a:dk1>
      <a:sysClr val="windowText" lastClr="000000"/>
    </a:dk1>
    <a:lt1>
      <a:sysClr val="window" lastClr="FFFFFF"/>
    </a:lt1>
    <a:dk2>
      <a:srgbClr val="4A4A49"/>
    </a:dk2>
    <a:lt2>
      <a:srgbClr val="E7E6E6"/>
    </a:lt2>
    <a:accent1>
      <a:srgbClr val="F68D2E"/>
    </a:accent1>
    <a:accent2>
      <a:srgbClr val="6AB651"/>
    </a:accent2>
    <a:accent3>
      <a:srgbClr val="DF3F2A"/>
    </a:accent3>
    <a:accent4>
      <a:srgbClr val="005D95"/>
    </a:accent4>
    <a:accent5>
      <a:srgbClr val="0077BF"/>
    </a:accent5>
    <a:accent6>
      <a:srgbClr val="63B9E9"/>
    </a:accent6>
    <a:hlink>
      <a:srgbClr val="FBBA00"/>
    </a:hlink>
    <a:folHlink>
      <a:srgbClr val="0077BF"/>
    </a:folHlink>
  </a:clrScheme>
  <a:fontScheme name="Arial">
    <a:majorFont>
      <a:latin typeface="Arial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Altiden">
    <a:dk1>
      <a:sysClr val="windowText" lastClr="000000"/>
    </a:dk1>
    <a:lt1>
      <a:sysClr val="window" lastClr="FFFFFF"/>
    </a:lt1>
    <a:dk2>
      <a:srgbClr val="4A4A49"/>
    </a:dk2>
    <a:lt2>
      <a:srgbClr val="E7E6E6"/>
    </a:lt2>
    <a:accent1>
      <a:srgbClr val="F68D2E"/>
    </a:accent1>
    <a:accent2>
      <a:srgbClr val="6AB651"/>
    </a:accent2>
    <a:accent3>
      <a:srgbClr val="DF3F2A"/>
    </a:accent3>
    <a:accent4>
      <a:srgbClr val="005D95"/>
    </a:accent4>
    <a:accent5>
      <a:srgbClr val="0077BF"/>
    </a:accent5>
    <a:accent6>
      <a:srgbClr val="63B9E9"/>
    </a:accent6>
    <a:hlink>
      <a:srgbClr val="FBBA00"/>
    </a:hlink>
    <a:folHlink>
      <a:srgbClr val="0077BF"/>
    </a:folHlink>
  </a:clrScheme>
  <a:fontScheme name="Arial">
    <a:majorFont>
      <a:latin typeface="Arial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Altiden">
    <a:dk1>
      <a:sysClr val="windowText" lastClr="000000"/>
    </a:dk1>
    <a:lt1>
      <a:sysClr val="window" lastClr="FFFFFF"/>
    </a:lt1>
    <a:dk2>
      <a:srgbClr val="4A4A49"/>
    </a:dk2>
    <a:lt2>
      <a:srgbClr val="E7E6E6"/>
    </a:lt2>
    <a:accent1>
      <a:srgbClr val="F68D2E"/>
    </a:accent1>
    <a:accent2>
      <a:srgbClr val="6AB651"/>
    </a:accent2>
    <a:accent3>
      <a:srgbClr val="DF3F2A"/>
    </a:accent3>
    <a:accent4>
      <a:srgbClr val="005D95"/>
    </a:accent4>
    <a:accent5>
      <a:srgbClr val="0077BF"/>
    </a:accent5>
    <a:accent6>
      <a:srgbClr val="63B9E9"/>
    </a:accent6>
    <a:hlink>
      <a:srgbClr val="FBBA00"/>
    </a:hlink>
    <a:folHlink>
      <a:srgbClr val="0077BF"/>
    </a:folHlink>
  </a:clrScheme>
  <a:fontScheme name="Arial">
    <a:majorFont>
      <a:latin typeface="Arial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Altiden">
    <a:dk1>
      <a:sysClr val="windowText" lastClr="000000"/>
    </a:dk1>
    <a:lt1>
      <a:sysClr val="window" lastClr="FFFFFF"/>
    </a:lt1>
    <a:dk2>
      <a:srgbClr val="4A4A49"/>
    </a:dk2>
    <a:lt2>
      <a:srgbClr val="E7E6E6"/>
    </a:lt2>
    <a:accent1>
      <a:srgbClr val="F68D2E"/>
    </a:accent1>
    <a:accent2>
      <a:srgbClr val="6AB651"/>
    </a:accent2>
    <a:accent3>
      <a:srgbClr val="DF3F2A"/>
    </a:accent3>
    <a:accent4>
      <a:srgbClr val="005D95"/>
    </a:accent4>
    <a:accent5>
      <a:srgbClr val="0077BF"/>
    </a:accent5>
    <a:accent6>
      <a:srgbClr val="63B9E9"/>
    </a:accent6>
    <a:hlink>
      <a:srgbClr val="FBBA00"/>
    </a:hlink>
    <a:folHlink>
      <a:srgbClr val="0077BF"/>
    </a:folHlink>
  </a:clrScheme>
  <a:fontScheme name="Arial">
    <a:majorFont>
      <a:latin typeface="Arial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Altiden">
    <a:dk1>
      <a:sysClr val="windowText" lastClr="000000"/>
    </a:dk1>
    <a:lt1>
      <a:sysClr val="window" lastClr="FFFFFF"/>
    </a:lt1>
    <a:dk2>
      <a:srgbClr val="4A4A49"/>
    </a:dk2>
    <a:lt2>
      <a:srgbClr val="E7E6E6"/>
    </a:lt2>
    <a:accent1>
      <a:srgbClr val="F68D2E"/>
    </a:accent1>
    <a:accent2>
      <a:srgbClr val="6AB651"/>
    </a:accent2>
    <a:accent3>
      <a:srgbClr val="DF3F2A"/>
    </a:accent3>
    <a:accent4>
      <a:srgbClr val="005D95"/>
    </a:accent4>
    <a:accent5>
      <a:srgbClr val="0077BF"/>
    </a:accent5>
    <a:accent6>
      <a:srgbClr val="63B9E9"/>
    </a:accent6>
    <a:hlink>
      <a:srgbClr val="FBBA00"/>
    </a:hlink>
    <a:folHlink>
      <a:srgbClr val="0077BF"/>
    </a:folHlink>
  </a:clrScheme>
  <a:fontScheme name="Arial">
    <a:majorFont>
      <a:latin typeface="Arial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Altiden">
    <a:dk1>
      <a:sysClr val="windowText" lastClr="000000"/>
    </a:dk1>
    <a:lt1>
      <a:sysClr val="window" lastClr="FFFFFF"/>
    </a:lt1>
    <a:dk2>
      <a:srgbClr val="4A4A49"/>
    </a:dk2>
    <a:lt2>
      <a:srgbClr val="E7E6E6"/>
    </a:lt2>
    <a:accent1>
      <a:srgbClr val="F68D2E"/>
    </a:accent1>
    <a:accent2>
      <a:srgbClr val="6AB651"/>
    </a:accent2>
    <a:accent3>
      <a:srgbClr val="DF3F2A"/>
    </a:accent3>
    <a:accent4>
      <a:srgbClr val="005D95"/>
    </a:accent4>
    <a:accent5>
      <a:srgbClr val="0077BF"/>
    </a:accent5>
    <a:accent6>
      <a:srgbClr val="63B9E9"/>
    </a:accent6>
    <a:hlink>
      <a:srgbClr val="FBBA00"/>
    </a:hlink>
    <a:folHlink>
      <a:srgbClr val="0077BF"/>
    </a:folHlink>
  </a:clrScheme>
  <a:fontScheme name="Arial">
    <a:majorFont>
      <a:latin typeface="Arial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KTH 4x3</Template>
  <TotalTime>9252</TotalTime>
  <Words>2238</Words>
  <Application>Microsoft Office PowerPoint</Application>
  <PresentationFormat>Custom</PresentationFormat>
  <Paragraphs>550</Paragraphs>
  <Slides>4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52" baseType="lpstr">
      <vt:lpstr>Arial</vt:lpstr>
      <vt:lpstr>Calibri</vt:lpstr>
      <vt:lpstr>Roboto</vt:lpstr>
      <vt:lpstr>Systemtypsnitt</vt:lpstr>
      <vt:lpstr>Wingdings</vt:lpstr>
      <vt:lpstr>KTH_PPT-mall</vt:lpstr>
      <vt:lpstr>2_Office-tema</vt:lpstr>
      <vt:lpstr>Office-tema</vt:lpstr>
      <vt:lpstr>Template_KTH_with colours and grafs</vt:lpstr>
      <vt:lpstr>think-cell Slide</vt:lpstr>
      <vt:lpstr>PowerPoint Presentation</vt:lpstr>
      <vt:lpstr>SCI –admin frukostmöte nr 1 - HT23 2023-09-12</vt:lpstr>
      <vt:lpstr>Innehåll</vt:lpstr>
      <vt:lpstr>Personalnytt SCI admin</vt:lpstr>
      <vt:lpstr>Personalnytt SCI admin</vt:lpstr>
      <vt:lpstr>Lönerevision 2023</vt:lpstr>
      <vt:lpstr>Tidplan lönerevision 2023</vt:lpstr>
      <vt:lpstr>KTH:s löne- och bedömningskriterier</vt:lpstr>
      <vt:lpstr>Nyheter på SCI/KTH</vt:lpstr>
      <vt:lpstr>Bakgrund</vt:lpstr>
      <vt:lpstr>Förändring av styrningen på KTH</vt:lpstr>
      <vt:lpstr>KTH:s kollegialt sammansatta organ i dag</vt:lpstr>
      <vt:lpstr>Beslut om denna ändring…</vt:lpstr>
      <vt:lpstr>Skolfakultetsnämndernas sammansättning och tillsättning – förslag!!</vt:lpstr>
      <vt:lpstr>Tidplan för val av ledamöter till   Skolans fakultetsnämnd resp  Fakultetsrådet</vt:lpstr>
      <vt:lpstr>Nyheter på SCI/KTH</vt:lpstr>
      <vt:lpstr>Nyheter på SCI/KTH</vt:lpstr>
      <vt:lpstr>Matematik – klart!</vt:lpstr>
      <vt:lpstr>Nyheter på SCI/KTH - admin</vt:lpstr>
      <vt:lpstr>Medarbetarundersökning</vt:lpstr>
      <vt:lpstr>Medarbetarundersökning 2023</vt:lpstr>
      <vt:lpstr>Verksamhetsstöd - SCI</vt:lpstr>
      <vt:lpstr>Sammanfattning</vt:lpstr>
      <vt:lpstr>PowerPoint Presentation</vt:lpstr>
      <vt:lpstr>Inkludering: 81 / 100</vt:lpstr>
      <vt:lpstr>Tydlighet - Prioriteringar: 72 / 100</vt:lpstr>
      <vt:lpstr>Uppskattning: 73 / 100</vt:lpstr>
      <vt:lpstr>PowerPoint Presentation</vt:lpstr>
      <vt:lpstr>Utveckling: 55 / 100</vt:lpstr>
      <vt:lpstr>Fokusområde…</vt:lpstr>
      <vt:lpstr>PowerPoint Presentation</vt:lpstr>
      <vt:lpstr>[Fokus] Fysisk arbetsmiljö 4: 77 / 100</vt:lpstr>
      <vt:lpstr>PowerPoint Presentation</vt:lpstr>
      <vt:lpstr>[Fokus] Fysisk arbetsmiljö 8: 33 / 100</vt:lpstr>
      <vt:lpstr>Nästa medarbetarundersökning…</vt:lpstr>
      <vt:lpstr>Programdirektivet &amp; samgåendet </vt:lpstr>
      <vt:lpstr>Programdirektivet &amp; samgåendet </vt:lpstr>
      <vt:lpstr>Programdirektivet &amp; samgåendet </vt:lpstr>
      <vt:lpstr>Programdirektivet &amp; samgåendet </vt:lpstr>
      <vt:lpstr>Programdirektivet &amp; samgåendet </vt:lpstr>
      <vt:lpstr>Programdirektivet &amp; samgåendet - status</vt:lpstr>
      <vt:lpstr>   Nästa SCI-admin frukostmöte…</vt:lpstr>
    </vt:vector>
  </TitlesOfParts>
  <Company>KT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CI –admin frukostmöte</dc:title>
  <dc:creator>Helene Rune</dc:creator>
  <cp:lastModifiedBy>Helene Rune</cp:lastModifiedBy>
  <cp:revision>347</cp:revision>
  <cp:lastPrinted>2013-05-27T09:10:21Z</cp:lastPrinted>
  <dcterms:created xsi:type="dcterms:W3CDTF">2022-05-27T05:41:04Z</dcterms:created>
  <dcterms:modified xsi:type="dcterms:W3CDTF">2023-09-12T05:15:34Z</dcterms:modified>
</cp:coreProperties>
</file>